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2.xml" ContentType="application/vnd.openxmlformats-officedocument.presentationml.tags+xml"/>
  <Override PartName="/docProps/custom.xml" ContentType="application/vnd.openxmlformats-officedocument.custom-properties+xml"/>
  <Override PartName="/ppt/revisionInfo.xml" ContentType="application/vnd.ms-powerpoint.revisioninfo+xml"/>
  <Override PartName="/ppt/notesSlides/notesSlide4.xml" ContentType="application/vnd.openxmlformats-officedocument.presentationml.notesSlide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46" r:id="rId1"/>
  </p:sldMasterIdLst>
  <p:notesMasterIdLst>
    <p:notesMasterId r:id="rId6"/>
  </p:notesMasterIdLst>
  <p:handoutMasterIdLst>
    <p:handoutMasterId r:id="rId7"/>
  </p:handoutMasterIdLst>
  <p:sldIdLst>
    <p:sldId id="2147483092" r:id="rId2"/>
    <p:sldId id="2147483097" r:id="rId3"/>
    <p:sldId id="2147483098" r:id="rId4"/>
    <p:sldId id="2147483095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328F"/>
    <a:srgbClr val="E7E7EA"/>
    <a:srgbClr val="142057"/>
    <a:srgbClr val="EBEBE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8D0B7D-A9B3-4198-9807-803FF2396580}" v="370" dt="2025-12-16T12:34:02.2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6" autoAdjust="0"/>
    <p:restoredTop sz="97308" autoAdjust="0"/>
  </p:normalViewPr>
  <p:slideViewPr>
    <p:cSldViewPr snapToGrid="0">
      <p:cViewPr varScale="1">
        <p:scale>
          <a:sx n="146" d="100"/>
          <a:sy n="146" d="100"/>
        </p:scale>
        <p:origin x="644" y="3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17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customXml" Target="../customXml/item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12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 dirty="0"/>
          </a:p>
        </p:txBody>
      </p:sp>
      <p:sp>
        <p:nvSpPr>
          <p:cNvPr id="6" name="Footer Placeholder 5"/>
          <p:cNvSpPr>
            <a:spLocks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1513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5CD48B-C840-2A14-084C-EDBE07B8E7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C8ED8C-F4DB-B3E5-8C29-58A5DC19C5C3}"/>
              </a:ext>
            </a:extLst>
          </p:cNvPr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C1095C7-13C5-28EB-CF01-29082B97E6B3}"/>
              </a:ext>
            </a:extLst>
          </p:cNvPr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CD0A7A-1AB4-F8BA-14F6-BDB1174A6A92}"/>
              </a:ext>
            </a:extLst>
          </p:cNvPr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62559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95131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531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2346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8234E6F0-7AAD-0C92-8B05-25EBC31CBAD7}"/>
              </a:ext>
            </a:extLst>
          </p:cNvPr>
          <p:cNvSpPr>
            <a:spLocks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896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52EEA7B-5EB4-DF30-E149-8F72A36360B9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744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8" imgH="540" progId="TCLayout.ActiveDocument.1">
                  <p:embed/>
                </p:oleObj>
              </mc:Choice>
              <mc:Fallback>
                <p:oleObj name="think-cell Slide" r:id="rId3" imgW="538" imgH="54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2EEA7B-5EB4-DF30-E149-8F72A3636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5319AA8-7234-8FBC-EF80-D0F5A540AC9F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2573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A0D18323-6E07-1A72-7D98-4C71C83748F1}"/>
              </a:ext>
            </a:extLst>
          </p:cNvPr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36000">
                <a:srgbClr val="2255CD">
                  <a:alpha val="90000"/>
                </a:srgbClr>
              </a:gs>
              <a:gs pos="11000">
                <a:schemeClr val="accent1">
                  <a:alpha val="90000"/>
                </a:schemeClr>
              </a:gs>
              <a:gs pos="76000">
                <a:srgbClr val="19328F">
                  <a:alpha val="96000"/>
                </a:srgbClr>
              </a:gs>
              <a:gs pos="100000">
                <a:srgbClr val="19328F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478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700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50" progId="TCLayout.ActiveDocument.1">
                  <p:embed/>
                </p:oleObj>
              </mc:Choice>
              <mc:Fallback>
                <p:oleObj name="think-cell Slide" r:id="rId5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C71F9F72-5B5C-F8BC-2EE8-59937BEE8D56}"/>
              </a:ext>
            </a:extLst>
          </p:cNvPr>
          <p:cNvPicPr>
            <a:picLocks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r="2573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6212BAA-09F3-E03D-030F-7131590B5B76}"/>
              </a:ext>
            </a:extLst>
          </p:cNvPr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36000">
                <a:srgbClr val="2255CD">
                  <a:alpha val="90000"/>
                </a:srgbClr>
              </a:gs>
              <a:gs pos="11000">
                <a:schemeClr val="accent1">
                  <a:alpha val="90000"/>
                </a:schemeClr>
              </a:gs>
              <a:gs pos="76000">
                <a:srgbClr val="19328F">
                  <a:alpha val="96000"/>
                </a:srgbClr>
              </a:gs>
              <a:gs pos="100000">
                <a:srgbClr val="19328F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/>
          </p:cNvSpPr>
          <p:nvPr>
            <p:ph type="title"/>
          </p:nvPr>
        </p:nvSpPr>
        <p:spPr>
          <a:xfrm>
            <a:off x="407988" y="455803"/>
            <a:ext cx="10083598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9C74D27-2C5E-FAF8-18AD-2E9E077DC2B6}"/>
              </a:ext>
            </a:extLst>
          </p:cNvPr>
          <p:cNvPicPr>
            <a:picLocks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773991" y="527886"/>
            <a:ext cx="1041617" cy="243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15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338138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23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emf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23.png"/><Relationship Id="rId3" Type="http://schemas.openxmlformats.org/officeDocument/2006/relationships/tags" Target="../tags/tag9.xml"/><Relationship Id="rId7" Type="http://schemas.openxmlformats.org/officeDocument/2006/relationships/notesSlide" Target="../notesSlides/notesSlide3.xml"/><Relationship Id="rId12" Type="http://schemas.openxmlformats.org/officeDocument/2006/relationships/image" Target="../media/image22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21.png"/><Relationship Id="rId5" Type="http://schemas.openxmlformats.org/officeDocument/2006/relationships/tags" Target="../tags/tag11.xml"/><Relationship Id="rId10" Type="http://schemas.openxmlformats.org/officeDocument/2006/relationships/image" Target="../media/image20.png"/><Relationship Id="rId4" Type="http://schemas.openxmlformats.org/officeDocument/2006/relationships/tags" Target="../tags/tag10.xml"/><Relationship Id="rId9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2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F59D6C0-0DED-B16C-BABE-8D99538B00B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59D6C0-0DED-B16C-BABE-8D99538B0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Picture 32">
            <a:extLst>
              <a:ext uri="{FF2B5EF4-FFF2-40B4-BE49-F238E27FC236}">
                <a16:creationId xmlns:a16="http://schemas.microsoft.com/office/drawing/2014/main" id="{D19869C3-9DF0-D608-4DE1-425A96A5B6D6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5196762" y="457207"/>
            <a:ext cx="1798476" cy="42066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9BCE86E-EAB2-C76F-90E2-9027A83AFF4A}"/>
              </a:ext>
            </a:extLst>
          </p:cNvPr>
          <p:cNvSpPr/>
          <p:nvPr/>
        </p:nvSpPr>
        <p:spPr>
          <a:xfrm>
            <a:off x="1762282" y="1004687"/>
            <a:ext cx="8667437" cy="123110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Quick start gui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6D7DF-AAF3-E08E-4BB6-D3A3BFC14226}"/>
              </a:ext>
            </a:extLst>
          </p:cNvPr>
          <p:cNvPicPr>
            <a:picLocks/>
          </p:cNvPicPr>
          <p:nvPr/>
        </p:nvPicPr>
        <p:blipFill>
          <a:blip r:embed="rId7"/>
          <a:srcRect/>
          <a:stretch/>
        </p:blipFill>
        <p:spPr>
          <a:xfrm>
            <a:off x="2537400" y="2371779"/>
            <a:ext cx="7117200" cy="3998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157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C439D6D-D0D0-7047-D39A-B7263E2E82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D7E3BF-42E8-5EC3-43AE-D8E66A3AE4E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D7E3BF-42E8-5EC3-43AE-D8E66A3AE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DC2927A-7221-D3F7-4985-B8419AADA65A}"/>
              </a:ext>
            </a:extLst>
          </p:cNvPr>
          <p:cNvSpPr>
            <a:spLocks/>
          </p:cNvSpPr>
          <p:nvPr>
            <p:ph type="title"/>
          </p:nvPr>
        </p:nvSpPr>
        <p:spPr/>
        <p:txBody>
          <a:bodyPr vert="horz" wrap="square" rIns="0">
            <a:spAutoFit/>
          </a:bodyPr>
          <a:lstStyle/>
          <a:p>
            <a:r>
              <a:rPr lang="en-US" dirty="0"/>
              <a:t>Adding content to think-cell Library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CE213652-AD4C-F065-7766-F49D32527C0B}"/>
              </a:ext>
            </a:extLst>
          </p:cNvPr>
          <p:cNvSpPr/>
          <p:nvPr/>
        </p:nvSpPr>
        <p:spPr>
          <a:xfrm>
            <a:off x="407987" y="1345308"/>
            <a:ext cx="10032042" cy="33855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Access your slides, and images from your computer, network, or OneDrive</a:t>
            </a:r>
          </a:p>
        </p:txBody>
      </p:sp>
      <p:sp>
        <p:nvSpPr>
          <p:cNvPr id="34" name="Free-form: Shape 33">
            <a:extLst>
              <a:ext uri="{FF2B5EF4-FFF2-40B4-BE49-F238E27FC236}">
                <a16:creationId xmlns:a16="http://schemas.microsoft.com/office/drawing/2014/main" id="{FBF56DF2-CDBE-074A-EB47-ABC0BE981AFC}"/>
              </a:ext>
            </a:extLst>
          </p:cNvPr>
          <p:cNvSpPr/>
          <p:nvPr/>
        </p:nvSpPr>
        <p:spPr>
          <a:xfrm>
            <a:off x="368645" y="1748691"/>
            <a:ext cx="298287" cy="298287"/>
          </a:xfrm>
          <a:custGeom>
            <a:avLst/>
            <a:gdLst>
              <a:gd name="connsiteX0" fmla="*/ 279134 w 558267"/>
              <a:gd name="connsiteY0" fmla="*/ 558267 h 558267"/>
              <a:gd name="connsiteX1" fmla="*/ 558267 w 558267"/>
              <a:gd name="connsiteY1" fmla="*/ 279134 h 558267"/>
              <a:gd name="connsiteX2" fmla="*/ 279134 w 558267"/>
              <a:gd name="connsiteY2" fmla="*/ 0 h 558267"/>
              <a:gd name="connsiteX3" fmla="*/ 0 w 558267"/>
              <a:gd name="connsiteY3" fmla="*/ 279134 h 558267"/>
              <a:gd name="connsiteX4" fmla="*/ 279134 w 558267"/>
              <a:gd name="connsiteY4" fmla="*/ 558267 h 558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267" h="558267">
                <a:moveTo>
                  <a:pt x="279134" y="558267"/>
                </a:moveTo>
                <a:cubicBezTo>
                  <a:pt x="433215" y="558267"/>
                  <a:pt x="558267" y="433215"/>
                  <a:pt x="558267" y="279134"/>
                </a:cubicBezTo>
                <a:cubicBezTo>
                  <a:pt x="558267" y="125052"/>
                  <a:pt x="433215" y="0"/>
                  <a:pt x="279134" y="0"/>
                </a:cubicBezTo>
                <a:cubicBezTo>
                  <a:pt x="125052" y="0"/>
                  <a:pt x="0" y="125052"/>
                  <a:pt x="0" y="279134"/>
                </a:cubicBezTo>
                <a:cubicBezTo>
                  <a:pt x="0" y="433215"/>
                  <a:pt x="125052" y="558267"/>
                  <a:pt x="279134" y="558267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  <a:effectLst>
            <a:outerShdw blurRad="63500" sx="105000" sy="105000" algn="ctr" rotWithShape="0">
              <a:schemeClr val="accent1">
                <a:alpha val="20000"/>
              </a:scheme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</a:rPr>
              <a:t>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188273A-6FF7-2C37-0844-BAEC10BFC7B4}"/>
              </a:ext>
            </a:extLst>
          </p:cNvPr>
          <p:cNvSpPr txBox="1"/>
          <p:nvPr/>
        </p:nvSpPr>
        <p:spPr>
          <a:xfrm>
            <a:off x="6253716" y="2125440"/>
            <a:ext cx="26568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In the folder picker, select a fold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9E9FF"/>
                </a:solidFill>
                <a:effectLst/>
                <a:uLnTx/>
                <a:uFillTx/>
                <a:latin typeface="Arial" panose="020B0604020202020204" pitchFamily="34" charset="0"/>
              </a:rPr>
              <a:t>, then press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Select Fold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9E9FF"/>
                </a:solidFill>
                <a:effectLst/>
                <a:uLnTx/>
                <a:uFillTx/>
                <a:latin typeface="Arial" panose="020B0604020202020204" pitchFamily="34" charset="0"/>
              </a:rPr>
              <a:t>button.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D9E9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D43ED88-02E8-F081-4BA1-DA9A672A6943}"/>
              </a:ext>
            </a:extLst>
          </p:cNvPr>
          <p:cNvSpPr txBox="1"/>
          <p:nvPr/>
        </p:nvSpPr>
        <p:spPr>
          <a:xfrm>
            <a:off x="405013" y="2129612"/>
            <a:ext cx="265556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Select        Configure Librar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9E9FF"/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9E9FF"/>
                </a:solidFill>
                <a:effectLst/>
                <a:uLnTx/>
                <a:uFillTx/>
                <a:latin typeface="Arial"/>
              </a:rPr>
              <a:t>at the bottom to start setting up your library content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9E9FF"/>
                </a:solidFill>
                <a:effectLst/>
                <a:uLnTx/>
                <a:uFillTx/>
                <a:latin typeface="Arial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D9E9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49C2A5E-D220-7113-FE71-967C8965FA9A}"/>
              </a:ext>
            </a:extLst>
          </p:cNvPr>
          <p:cNvSpPr txBox="1"/>
          <p:nvPr/>
        </p:nvSpPr>
        <p:spPr>
          <a:xfrm>
            <a:off x="3332163" y="2125440"/>
            <a:ext cx="26568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Select New Folde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L="0" marR="0" lvl="0" indent="0" algn="l" defTabSz="91916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9E9FF"/>
                </a:solidFill>
                <a:effectLst/>
                <a:uLnTx/>
                <a:uFillTx/>
                <a:latin typeface="Arial"/>
              </a:rPr>
              <a:t>The file explorer will launch automatically.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26D93C0-E660-CCA7-FAF1-6BADCF9C7738}"/>
              </a:ext>
            </a:extLst>
          </p:cNvPr>
          <p:cNvSpPr txBox="1"/>
          <p:nvPr/>
        </p:nvSpPr>
        <p:spPr>
          <a:xfrm>
            <a:off x="9170069" y="2135507"/>
            <a:ext cx="26568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Select        Save Configura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9E9FF"/>
                </a:solidFill>
                <a:effectLst/>
                <a:uLnTx/>
                <a:uFillTx/>
                <a:latin typeface="Arial"/>
              </a:rPr>
              <a:t>at the bottom to complete the setup.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D9E9FF"/>
              </a:solidFill>
              <a:effectLst/>
              <a:uLnTx/>
              <a:uFillTx/>
              <a:latin typeface="Arial"/>
            </a:endParaRP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A589E959-FF52-6AC4-322B-108C3EF8A780}"/>
              </a:ext>
            </a:extLst>
          </p:cNvPr>
          <p:cNvCxnSpPr>
            <a:cxnSpLocks/>
            <a:stCxn id="34" idx="1"/>
          </p:cNvCxnSpPr>
          <p:nvPr/>
        </p:nvCxnSpPr>
        <p:spPr>
          <a:xfrm>
            <a:off x="666932" y="1897835"/>
            <a:ext cx="11113713" cy="0"/>
          </a:xfrm>
          <a:prstGeom prst="straightConnector1">
            <a:avLst/>
          </a:prstGeom>
          <a:ln w="38100">
            <a:solidFill>
              <a:schemeClr val="accent5">
                <a:lumMod val="40000"/>
                <a:lumOff val="60000"/>
                <a:alpha val="7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Free-form: Shape 84">
            <a:extLst>
              <a:ext uri="{FF2B5EF4-FFF2-40B4-BE49-F238E27FC236}">
                <a16:creationId xmlns:a16="http://schemas.microsoft.com/office/drawing/2014/main" id="{5633BBA8-69B7-CC28-8F19-4FADB42A0805}"/>
              </a:ext>
            </a:extLst>
          </p:cNvPr>
          <p:cNvSpPr/>
          <p:nvPr/>
        </p:nvSpPr>
        <p:spPr>
          <a:xfrm>
            <a:off x="3332791" y="1748691"/>
            <a:ext cx="298287" cy="298287"/>
          </a:xfrm>
          <a:custGeom>
            <a:avLst/>
            <a:gdLst>
              <a:gd name="connsiteX0" fmla="*/ 279134 w 558267"/>
              <a:gd name="connsiteY0" fmla="*/ 558267 h 558267"/>
              <a:gd name="connsiteX1" fmla="*/ 558267 w 558267"/>
              <a:gd name="connsiteY1" fmla="*/ 279134 h 558267"/>
              <a:gd name="connsiteX2" fmla="*/ 279134 w 558267"/>
              <a:gd name="connsiteY2" fmla="*/ 0 h 558267"/>
              <a:gd name="connsiteX3" fmla="*/ 0 w 558267"/>
              <a:gd name="connsiteY3" fmla="*/ 279134 h 558267"/>
              <a:gd name="connsiteX4" fmla="*/ 279134 w 558267"/>
              <a:gd name="connsiteY4" fmla="*/ 558267 h 558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267" h="558267">
                <a:moveTo>
                  <a:pt x="279134" y="558267"/>
                </a:moveTo>
                <a:cubicBezTo>
                  <a:pt x="433215" y="558267"/>
                  <a:pt x="558267" y="433215"/>
                  <a:pt x="558267" y="279134"/>
                </a:cubicBezTo>
                <a:cubicBezTo>
                  <a:pt x="558267" y="125052"/>
                  <a:pt x="433215" y="0"/>
                  <a:pt x="279134" y="0"/>
                </a:cubicBezTo>
                <a:cubicBezTo>
                  <a:pt x="125052" y="0"/>
                  <a:pt x="0" y="125052"/>
                  <a:pt x="0" y="279134"/>
                </a:cubicBezTo>
                <a:cubicBezTo>
                  <a:pt x="0" y="433215"/>
                  <a:pt x="125052" y="558267"/>
                  <a:pt x="279134" y="558267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  <a:effectLst>
            <a:outerShdw blurRad="63500" sx="105000" sy="105000" algn="ctr" rotWithShape="0">
              <a:schemeClr val="accent1">
                <a:alpha val="20000"/>
              </a:scheme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</a:rPr>
              <a:t>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6" name="Free-form: Shape 85">
            <a:extLst>
              <a:ext uri="{FF2B5EF4-FFF2-40B4-BE49-F238E27FC236}">
                <a16:creationId xmlns:a16="http://schemas.microsoft.com/office/drawing/2014/main" id="{6038978A-645C-A9BD-8962-F9FE45F31944}"/>
              </a:ext>
            </a:extLst>
          </p:cNvPr>
          <p:cNvSpPr/>
          <p:nvPr/>
        </p:nvSpPr>
        <p:spPr>
          <a:xfrm>
            <a:off x="9174641" y="1748691"/>
            <a:ext cx="298287" cy="298287"/>
          </a:xfrm>
          <a:custGeom>
            <a:avLst/>
            <a:gdLst>
              <a:gd name="connsiteX0" fmla="*/ 279134 w 558267"/>
              <a:gd name="connsiteY0" fmla="*/ 558267 h 558267"/>
              <a:gd name="connsiteX1" fmla="*/ 558267 w 558267"/>
              <a:gd name="connsiteY1" fmla="*/ 279134 h 558267"/>
              <a:gd name="connsiteX2" fmla="*/ 279134 w 558267"/>
              <a:gd name="connsiteY2" fmla="*/ 0 h 558267"/>
              <a:gd name="connsiteX3" fmla="*/ 0 w 558267"/>
              <a:gd name="connsiteY3" fmla="*/ 279134 h 558267"/>
              <a:gd name="connsiteX4" fmla="*/ 279134 w 558267"/>
              <a:gd name="connsiteY4" fmla="*/ 558267 h 558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267" h="558267">
                <a:moveTo>
                  <a:pt x="279134" y="558267"/>
                </a:moveTo>
                <a:cubicBezTo>
                  <a:pt x="433215" y="558267"/>
                  <a:pt x="558267" y="433215"/>
                  <a:pt x="558267" y="279134"/>
                </a:cubicBezTo>
                <a:cubicBezTo>
                  <a:pt x="558267" y="125052"/>
                  <a:pt x="433215" y="0"/>
                  <a:pt x="279134" y="0"/>
                </a:cubicBezTo>
                <a:cubicBezTo>
                  <a:pt x="125052" y="0"/>
                  <a:pt x="0" y="125052"/>
                  <a:pt x="0" y="279134"/>
                </a:cubicBezTo>
                <a:cubicBezTo>
                  <a:pt x="0" y="433215"/>
                  <a:pt x="125052" y="558267"/>
                  <a:pt x="279134" y="558267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  <a:effectLst>
            <a:outerShdw blurRad="63500" sx="105000" sy="105000" algn="ctr" rotWithShape="0">
              <a:schemeClr val="accent1">
                <a:alpha val="20000"/>
              </a:scheme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</a:rPr>
              <a:t>4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7" name="Free-form: Shape 86">
            <a:extLst>
              <a:ext uri="{FF2B5EF4-FFF2-40B4-BE49-F238E27FC236}">
                <a16:creationId xmlns:a16="http://schemas.microsoft.com/office/drawing/2014/main" id="{276382D6-92AF-BB0B-E63A-9C2E768D13C4}"/>
              </a:ext>
            </a:extLst>
          </p:cNvPr>
          <p:cNvSpPr/>
          <p:nvPr/>
        </p:nvSpPr>
        <p:spPr>
          <a:xfrm>
            <a:off x="6253716" y="1748691"/>
            <a:ext cx="298287" cy="298287"/>
          </a:xfrm>
          <a:custGeom>
            <a:avLst/>
            <a:gdLst>
              <a:gd name="connsiteX0" fmla="*/ 279134 w 558267"/>
              <a:gd name="connsiteY0" fmla="*/ 558267 h 558267"/>
              <a:gd name="connsiteX1" fmla="*/ 558267 w 558267"/>
              <a:gd name="connsiteY1" fmla="*/ 279134 h 558267"/>
              <a:gd name="connsiteX2" fmla="*/ 279134 w 558267"/>
              <a:gd name="connsiteY2" fmla="*/ 0 h 558267"/>
              <a:gd name="connsiteX3" fmla="*/ 0 w 558267"/>
              <a:gd name="connsiteY3" fmla="*/ 279134 h 558267"/>
              <a:gd name="connsiteX4" fmla="*/ 279134 w 558267"/>
              <a:gd name="connsiteY4" fmla="*/ 558267 h 558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267" h="558267">
                <a:moveTo>
                  <a:pt x="279134" y="558267"/>
                </a:moveTo>
                <a:cubicBezTo>
                  <a:pt x="433215" y="558267"/>
                  <a:pt x="558267" y="433215"/>
                  <a:pt x="558267" y="279134"/>
                </a:cubicBezTo>
                <a:cubicBezTo>
                  <a:pt x="558267" y="125052"/>
                  <a:pt x="433215" y="0"/>
                  <a:pt x="279134" y="0"/>
                </a:cubicBezTo>
                <a:cubicBezTo>
                  <a:pt x="125052" y="0"/>
                  <a:pt x="0" y="125052"/>
                  <a:pt x="0" y="279134"/>
                </a:cubicBezTo>
                <a:cubicBezTo>
                  <a:pt x="0" y="433215"/>
                  <a:pt x="125052" y="558267"/>
                  <a:pt x="279134" y="558267"/>
                </a:cubicBez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  <a:effectLst>
            <a:outerShdw blurRad="63500" sx="105000" sy="105000" algn="ctr" rotWithShape="0">
              <a:schemeClr val="accent1">
                <a:alpha val="20000"/>
              </a:scheme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</a:rPr>
              <a:t>3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6619271-0B8A-7E58-ED76-F5AD662E1B16}"/>
              </a:ext>
            </a:extLst>
          </p:cNvPr>
          <p:cNvGrpSpPr/>
          <p:nvPr/>
        </p:nvGrpSpPr>
        <p:grpSpPr>
          <a:xfrm>
            <a:off x="408317" y="2931419"/>
            <a:ext cx="2652263" cy="3285928"/>
            <a:chOff x="408317" y="2931419"/>
            <a:chExt cx="2652263" cy="3285928"/>
          </a:xfrm>
        </p:grpSpPr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25D5143C-9FE5-8812-5AA0-48EE7B182D60}"/>
                </a:ext>
              </a:extLst>
            </p:cNvPr>
            <p:cNvPicPr>
              <a:picLocks/>
            </p:cNvPicPr>
            <p:nvPr/>
          </p:nvPicPr>
          <p:blipFill>
            <a:blip r:embed="rId6"/>
            <a:srcRect l="3" t="-36" r="62894" b="15214"/>
            <a:stretch>
              <a:fillRect/>
            </a:stretch>
          </p:blipFill>
          <p:spPr>
            <a:xfrm>
              <a:off x="408317" y="2931419"/>
              <a:ext cx="2652263" cy="3285928"/>
            </a:xfrm>
            <a:prstGeom prst="roundRect">
              <a:avLst>
                <a:gd name="adj" fmla="val 2326"/>
              </a:avLst>
            </a:prstGeom>
            <a:ln w="76200">
              <a:solidFill>
                <a:schemeClr val="bg2">
                  <a:alpha val="50000"/>
                </a:schemeClr>
              </a:solidFill>
            </a:ln>
          </p:spPr>
        </p:pic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E57296A3-C849-F56B-E6EA-96F67F40349F}"/>
                </a:ext>
              </a:extLst>
            </p:cNvPr>
            <p:cNvGrpSpPr/>
            <p:nvPr/>
          </p:nvGrpSpPr>
          <p:grpSpPr>
            <a:xfrm>
              <a:off x="1610821" y="5798852"/>
              <a:ext cx="373610" cy="373610"/>
              <a:chOff x="1691170" y="5514937"/>
              <a:chExt cx="492469" cy="492469"/>
            </a:xfrm>
          </p:grpSpPr>
          <p:sp>
            <p:nvSpPr>
              <p:cNvPr id="102" name="Freeform: Shape 56">
                <a:extLst>
                  <a:ext uri="{FF2B5EF4-FFF2-40B4-BE49-F238E27FC236}">
                    <a16:creationId xmlns:a16="http://schemas.microsoft.com/office/drawing/2014/main" id="{AE6A078A-3252-31A3-95B1-784B9B28DCAE}"/>
                  </a:ext>
                </a:extLst>
              </p:cNvPr>
              <p:cNvSpPr/>
              <p:nvPr/>
            </p:nvSpPr>
            <p:spPr>
              <a:xfrm>
                <a:off x="1691170" y="5514937"/>
                <a:ext cx="492469" cy="492469"/>
              </a:xfrm>
              <a:custGeom>
                <a:avLst/>
                <a:gdLst>
                  <a:gd name="connsiteX0" fmla="*/ 452438 w 904875"/>
                  <a:gd name="connsiteY0" fmla="*/ 904875 h 904875"/>
                  <a:gd name="connsiteX1" fmla="*/ 904875 w 904875"/>
                  <a:gd name="connsiteY1" fmla="*/ 452438 h 904875"/>
                  <a:gd name="connsiteX2" fmla="*/ 452438 w 904875"/>
                  <a:gd name="connsiteY2" fmla="*/ 0 h 904875"/>
                  <a:gd name="connsiteX3" fmla="*/ 0 w 904875"/>
                  <a:gd name="connsiteY3" fmla="*/ 452438 h 904875"/>
                  <a:gd name="connsiteX4" fmla="*/ 452438 w 904875"/>
                  <a:gd name="connsiteY4" fmla="*/ 90487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4875" h="904875">
                    <a:moveTo>
                      <a:pt x="452438" y="904875"/>
                    </a:moveTo>
                    <a:cubicBezTo>
                      <a:pt x="702310" y="904875"/>
                      <a:pt x="904875" y="702310"/>
                      <a:pt x="904875" y="452438"/>
                    </a:cubicBezTo>
                    <a:cubicBezTo>
                      <a:pt x="904875" y="202563"/>
                      <a:pt x="702310" y="0"/>
                      <a:pt x="452438" y="0"/>
                    </a:cubicBezTo>
                    <a:cubicBezTo>
                      <a:pt x="202563" y="0"/>
                      <a:pt x="0" y="202563"/>
                      <a:pt x="0" y="452438"/>
                    </a:cubicBezTo>
                    <a:cubicBezTo>
                      <a:pt x="0" y="702310"/>
                      <a:pt x="202563" y="904875"/>
                      <a:pt x="452438" y="904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1"/>
                </a:solidFill>
              </a:ln>
              <a:effectLst>
                <a:outerShdw blurRad="38100" sx="105000" sy="105000" algn="ctr" rotWithShape="0">
                  <a:schemeClr val="accent1">
                    <a:lumMod val="50000"/>
                    <a:alpha val="40000"/>
                  </a:scheme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01" name="Picture 100">
                <a:extLst>
                  <a:ext uri="{FF2B5EF4-FFF2-40B4-BE49-F238E27FC236}">
                    <a16:creationId xmlns:a16="http://schemas.microsoft.com/office/drawing/2014/main" id="{4159B0D3-79A4-68D2-9021-8ADFEDF3AB35}"/>
                  </a:ext>
                </a:extLst>
              </p:cNvPr>
              <p:cNvPicPr>
                <a:picLocks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785023" y="5608790"/>
                <a:ext cx="304762" cy="304762"/>
              </a:xfrm>
              <a:prstGeom prst="rect">
                <a:avLst/>
              </a:prstGeom>
            </p:spPr>
          </p:pic>
        </p:grpSp>
        <p:sp>
          <p:nvSpPr>
            <p:cNvPr id="110" name="Rectangle: Top Corners Rounded 109">
              <a:extLst>
                <a:ext uri="{FF2B5EF4-FFF2-40B4-BE49-F238E27FC236}">
                  <a16:creationId xmlns:a16="http://schemas.microsoft.com/office/drawing/2014/main" id="{6A2185B7-7A62-5331-3077-C6215A77BA4E}"/>
                </a:ext>
              </a:extLst>
            </p:cNvPr>
            <p:cNvSpPr/>
            <p:nvPr/>
          </p:nvSpPr>
          <p:spPr>
            <a:xfrm rot="5400000">
              <a:off x="859762" y="4006500"/>
              <a:ext cx="3265867" cy="1135767"/>
            </a:xfrm>
            <a:prstGeom prst="round2SameRect">
              <a:avLst>
                <a:gd name="adj1" fmla="val 514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77B316C-9520-1576-9942-B2F289873013}"/>
              </a:ext>
            </a:extLst>
          </p:cNvPr>
          <p:cNvGrpSpPr/>
          <p:nvPr/>
        </p:nvGrpSpPr>
        <p:grpSpPr>
          <a:xfrm>
            <a:off x="3332791" y="2931419"/>
            <a:ext cx="2648714" cy="3285928"/>
            <a:chOff x="3332791" y="2931419"/>
            <a:chExt cx="2648714" cy="3285928"/>
          </a:xfrm>
        </p:grpSpPr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0CA1361C-8307-E982-8BFE-C6B12D93392E}"/>
                </a:ext>
              </a:extLst>
            </p:cNvPr>
            <p:cNvGrpSpPr/>
            <p:nvPr/>
          </p:nvGrpSpPr>
          <p:grpSpPr>
            <a:xfrm>
              <a:off x="3332791" y="2931419"/>
              <a:ext cx="2648714" cy="3285928"/>
              <a:chOff x="2705273" y="2893803"/>
              <a:chExt cx="2679035" cy="3323544"/>
            </a:xfrm>
          </p:grpSpPr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4DFFF763-AC0C-9452-E818-1956E7A0BC67}"/>
                  </a:ext>
                </a:extLst>
              </p:cNvPr>
              <p:cNvPicPr>
                <a:picLocks/>
              </p:cNvPicPr>
              <p:nvPr/>
            </p:nvPicPr>
            <p:blipFill>
              <a:blip r:embed="rId8"/>
              <a:srcRect l="-7" r="63005" b="15292"/>
              <a:stretch>
                <a:fillRect/>
              </a:stretch>
            </p:blipFill>
            <p:spPr>
              <a:xfrm>
                <a:off x="2705273" y="2893803"/>
                <a:ext cx="2679035" cy="3323544"/>
              </a:xfrm>
              <a:prstGeom prst="roundRect">
                <a:avLst>
                  <a:gd name="adj" fmla="val 2326"/>
                </a:avLst>
              </a:prstGeom>
              <a:ln w="76200">
                <a:solidFill>
                  <a:schemeClr val="bg2">
                    <a:alpha val="50000"/>
                  </a:schemeClr>
                </a:solidFill>
              </a:ln>
            </p:spPr>
          </p:pic>
          <p:sp>
            <p:nvSpPr>
              <p:cNvPr id="54" name="Freeform: Shape 56">
                <a:extLst>
                  <a:ext uri="{FF2B5EF4-FFF2-40B4-BE49-F238E27FC236}">
                    <a16:creationId xmlns:a16="http://schemas.microsoft.com/office/drawing/2014/main" id="{A72AA739-303D-3750-2E22-6678CCC5E392}"/>
                  </a:ext>
                </a:extLst>
              </p:cNvPr>
              <p:cNvSpPr/>
              <p:nvPr/>
            </p:nvSpPr>
            <p:spPr>
              <a:xfrm>
                <a:off x="2809730" y="4688421"/>
                <a:ext cx="1611371" cy="183600"/>
              </a:xfrm>
              <a:prstGeom prst="roundRect">
                <a:avLst>
                  <a:gd name="adj" fmla="val 50000"/>
                </a:avLst>
              </a:prstGeom>
              <a:noFill/>
              <a:ln w="38100">
                <a:solidFill>
                  <a:schemeClr val="accent1"/>
                </a:solidFill>
              </a:ln>
              <a:effectLst>
                <a:outerShdw blurRad="38100" sx="105000" sy="105000" algn="ctr" rotWithShape="0">
                  <a:schemeClr val="accent1">
                    <a:lumMod val="50000"/>
                    <a:alpha val="40000"/>
                  </a:scheme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2" name="Rectangle: Top Corners Rounded 111">
              <a:extLst>
                <a:ext uri="{FF2B5EF4-FFF2-40B4-BE49-F238E27FC236}">
                  <a16:creationId xmlns:a16="http://schemas.microsoft.com/office/drawing/2014/main" id="{83D9C676-0A21-4560-B4FD-D6A494F97AED}"/>
                </a:ext>
              </a:extLst>
            </p:cNvPr>
            <p:cNvSpPr/>
            <p:nvPr/>
          </p:nvSpPr>
          <p:spPr>
            <a:xfrm rot="5400000">
              <a:off x="3792408" y="4018224"/>
              <a:ext cx="3265867" cy="1112324"/>
            </a:xfrm>
            <a:prstGeom prst="round2SameRect">
              <a:avLst>
                <a:gd name="adj1" fmla="val 514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76586A4-E4E7-7C68-0731-B2E41718D99E}"/>
              </a:ext>
            </a:extLst>
          </p:cNvPr>
          <p:cNvGrpSpPr/>
          <p:nvPr/>
        </p:nvGrpSpPr>
        <p:grpSpPr>
          <a:xfrm>
            <a:off x="9170069" y="2931419"/>
            <a:ext cx="2656799" cy="3285928"/>
            <a:chOff x="9170069" y="2931419"/>
            <a:chExt cx="2656799" cy="3285928"/>
          </a:xfrm>
        </p:grpSpPr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228D6342-FFBF-40F2-6A67-1259E3CC30F3}"/>
                </a:ext>
              </a:extLst>
            </p:cNvPr>
            <p:cNvPicPr>
              <a:picLocks/>
            </p:cNvPicPr>
            <p:nvPr/>
          </p:nvPicPr>
          <p:blipFill>
            <a:blip r:embed="rId9"/>
            <a:srcRect r="62606" b="14660"/>
            <a:stretch>
              <a:fillRect/>
            </a:stretch>
          </p:blipFill>
          <p:spPr>
            <a:xfrm>
              <a:off x="9170069" y="2931419"/>
              <a:ext cx="2656799" cy="3285928"/>
            </a:xfrm>
            <a:prstGeom prst="roundRect">
              <a:avLst>
                <a:gd name="adj" fmla="val 2326"/>
              </a:avLst>
            </a:prstGeom>
            <a:ln w="76200">
              <a:solidFill>
                <a:schemeClr val="bg2">
                  <a:alpha val="50000"/>
                </a:schemeClr>
              </a:solidFill>
            </a:ln>
          </p:spPr>
        </p:pic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0447444B-A7E0-CBF5-C219-2E113A506DD9}"/>
                </a:ext>
              </a:extLst>
            </p:cNvPr>
            <p:cNvGrpSpPr/>
            <p:nvPr/>
          </p:nvGrpSpPr>
          <p:grpSpPr>
            <a:xfrm>
              <a:off x="10083794" y="5791286"/>
              <a:ext cx="652372" cy="376115"/>
              <a:chOff x="10263153" y="5561190"/>
              <a:chExt cx="574462" cy="331197"/>
            </a:xfrm>
          </p:grpSpPr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1048EE1D-91B5-96B9-EBDD-7D609239661E}"/>
                  </a:ext>
                </a:extLst>
              </p:cNvPr>
              <p:cNvSpPr/>
              <p:nvPr/>
            </p:nvSpPr>
            <p:spPr>
              <a:xfrm>
                <a:off x="10506418" y="5561190"/>
                <a:ext cx="331197" cy="331197"/>
              </a:xfrm>
              <a:custGeom>
                <a:avLst/>
                <a:gdLst>
                  <a:gd name="connsiteX0" fmla="*/ 452438 w 904875"/>
                  <a:gd name="connsiteY0" fmla="*/ 904875 h 904875"/>
                  <a:gd name="connsiteX1" fmla="*/ 904875 w 904875"/>
                  <a:gd name="connsiteY1" fmla="*/ 452438 h 904875"/>
                  <a:gd name="connsiteX2" fmla="*/ 452438 w 904875"/>
                  <a:gd name="connsiteY2" fmla="*/ 0 h 904875"/>
                  <a:gd name="connsiteX3" fmla="*/ 0 w 904875"/>
                  <a:gd name="connsiteY3" fmla="*/ 452438 h 904875"/>
                  <a:gd name="connsiteX4" fmla="*/ 452438 w 904875"/>
                  <a:gd name="connsiteY4" fmla="*/ 90487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4875" h="904875">
                    <a:moveTo>
                      <a:pt x="452438" y="904875"/>
                    </a:moveTo>
                    <a:cubicBezTo>
                      <a:pt x="702310" y="904875"/>
                      <a:pt x="904875" y="702310"/>
                      <a:pt x="904875" y="452438"/>
                    </a:cubicBezTo>
                    <a:cubicBezTo>
                      <a:pt x="904875" y="202563"/>
                      <a:pt x="702310" y="0"/>
                      <a:pt x="452438" y="0"/>
                    </a:cubicBezTo>
                    <a:cubicBezTo>
                      <a:pt x="202563" y="0"/>
                      <a:pt x="0" y="202563"/>
                      <a:pt x="0" y="452438"/>
                    </a:cubicBezTo>
                    <a:cubicBezTo>
                      <a:pt x="0" y="702310"/>
                      <a:pt x="202563" y="904875"/>
                      <a:pt x="452438" y="904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1"/>
                </a:solidFill>
              </a:ln>
              <a:effectLst>
                <a:outerShdw blurRad="38100" sx="105000" sy="105000" algn="ctr" rotWithShape="0">
                  <a:schemeClr val="accent1">
                    <a:lumMod val="50000"/>
                    <a:alpha val="40000"/>
                  </a:scheme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B40C320D-D3D7-261F-B779-94801E9C0EEC}"/>
                  </a:ext>
                </a:extLst>
              </p:cNvPr>
              <p:cNvPicPr>
                <a:picLocks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0569946" y="5624718"/>
                <a:ext cx="204141" cy="204141"/>
              </a:xfrm>
              <a:prstGeom prst="rect">
                <a:avLst/>
              </a:prstGeom>
            </p:spPr>
          </p:pic>
          <p:pic>
            <p:nvPicPr>
              <p:cNvPr id="59" name="Picture 58">
                <a:extLst>
                  <a:ext uri="{FF2B5EF4-FFF2-40B4-BE49-F238E27FC236}">
                    <a16:creationId xmlns:a16="http://schemas.microsoft.com/office/drawing/2014/main" id="{7BD67A27-7C1C-B256-B7FC-2ED872951AA5}"/>
                  </a:ext>
                </a:extLst>
              </p:cNvPr>
              <p:cNvPicPr>
                <a:picLocks/>
              </p:cNvPicPr>
              <p:nvPr/>
            </p:nvPicPr>
            <p:blipFill>
              <a:blip r:embed="rId11"/>
              <a:srcRect/>
              <a:stretch/>
            </p:blipFill>
            <p:spPr>
              <a:xfrm>
                <a:off x="10263153" y="5630455"/>
                <a:ext cx="204141" cy="204141"/>
              </a:xfrm>
              <a:prstGeom prst="rect">
                <a:avLst/>
              </a:prstGeom>
            </p:spPr>
          </p:pic>
        </p:grpSp>
        <p:sp>
          <p:nvSpPr>
            <p:cNvPr id="114" name="Rectangle: Top Corners Rounded 113">
              <a:extLst>
                <a:ext uri="{FF2B5EF4-FFF2-40B4-BE49-F238E27FC236}">
                  <a16:creationId xmlns:a16="http://schemas.microsoft.com/office/drawing/2014/main" id="{0F37B176-2B82-5201-8B58-015B37B58BD7}"/>
                </a:ext>
              </a:extLst>
            </p:cNvPr>
            <p:cNvSpPr/>
            <p:nvPr/>
          </p:nvSpPr>
          <p:spPr>
            <a:xfrm rot="5400000">
              <a:off x="9648269" y="4028720"/>
              <a:ext cx="3265867" cy="1091330"/>
            </a:xfrm>
            <a:prstGeom prst="round2SameRect">
              <a:avLst>
                <a:gd name="adj1" fmla="val 514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7DBE43D1-ABD4-E2EC-BB32-95E2549AAA79}"/>
              </a:ext>
            </a:extLst>
          </p:cNvPr>
          <p:cNvGrpSpPr/>
          <p:nvPr/>
        </p:nvGrpSpPr>
        <p:grpSpPr>
          <a:xfrm>
            <a:off x="6283694" y="2931419"/>
            <a:ext cx="2618736" cy="3285928"/>
            <a:chOff x="6283694" y="2931419"/>
            <a:chExt cx="2618736" cy="3285928"/>
          </a:xfrm>
        </p:grpSpPr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4A810064-44C2-8B64-5AF1-F5F385AC88D3}"/>
                </a:ext>
              </a:extLst>
            </p:cNvPr>
            <p:cNvPicPr>
              <a:picLocks/>
            </p:cNvPicPr>
            <p:nvPr/>
          </p:nvPicPr>
          <p:blipFill>
            <a:blip r:embed="rId12"/>
            <a:srcRect l="33" t="76" r="44959" b="-76"/>
            <a:stretch>
              <a:fillRect/>
            </a:stretch>
          </p:blipFill>
          <p:spPr>
            <a:xfrm>
              <a:off x="6283694" y="2931419"/>
              <a:ext cx="2618736" cy="3285928"/>
            </a:xfrm>
            <a:prstGeom prst="roundRect">
              <a:avLst>
                <a:gd name="adj" fmla="val 2326"/>
              </a:avLst>
            </a:prstGeom>
            <a:ln w="76200">
              <a:solidFill>
                <a:schemeClr val="bg2">
                  <a:alpha val="50000"/>
                </a:schemeClr>
              </a:solidFill>
            </a:ln>
          </p:spPr>
        </p:pic>
        <p:sp>
          <p:nvSpPr>
            <p:cNvPr id="91" name="Freeform: Shape 56">
              <a:extLst>
                <a:ext uri="{FF2B5EF4-FFF2-40B4-BE49-F238E27FC236}">
                  <a16:creationId xmlns:a16="http://schemas.microsoft.com/office/drawing/2014/main" id="{08F63CBF-75DE-9779-E982-64AE0445474A}"/>
                </a:ext>
              </a:extLst>
            </p:cNvPr>
            <p:cNvSpPr/>
            <p:nvPr/>
          </p:nvSpPr>
          <p:spPr>
            <a:xfrm>
              <a:off x="6328058" y="4408562"/>
              <a:ext cx="1587717" cy="180651"/>
            </a:xfrm>
            <a:prstGeom prst="roundRect">
              <a:avLst>
                <a:gd name="adj" fmla="val 50000"/>
              </a:avLst>
            </a:prstGeom>
            <a:noFill/>
            <a:ln w="38100">
              <a:solidFill>
                <a:schemeClr val="accent1"/>
              </a:solidFill>
            </a:ln>
            <a:effectLst>
              <a:outerShdw blurRad="38100" sx="105000" sy="105000" algn="ctr" rotWithShape="0">
                <a:schemeClr val="accent1">
                  <a:lumMod val="50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Rectangle: Top Corners Rounded 112">
              <a:extLst>
                <a:ext uri="{FF2B5EF4-FFF2-40B4-BE49-F238E27FC236}">
                  <a16:creationId xmlns:a16="http://schemas.microsoft.com/office/drawing/2014/main" id="{50F28A86-48A7-E0BC-8004-2E0173A01642}"/>
                </a:ext>
              </a:extLst>
            </p:cNvPr>
            <p:cNvSpPr/>
            <p:nvPr/>
          </p:nvSpPr>
          <p:spPr>
            <a:xfrm rot="5400000">
              <a:off x="7052385" y="4357273"/>
              <a:ext cx="3265867" cy="434220"/>
            </a:xfrm>
            <a:prstGeom prst="round2SameRect">
              <a:avLst>
                <a:gd name="adj1" fmla="val 514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B7683ED7-D05A-612C-4CF6-59692D30270E}"/>
                </a:ext>
              </a:extLst>
            </p:cNvPr>
            <p:cNvPicPr>
              <a:picLocks/>
            </p:cNvPicPr>
            <p:nvPr/>
          </p:nvPicPr>
          <p:blipFill>
            <a:blip r:embed="rId12"/>
            <a:srcRect l="62798" t="88751" r="18676" b="3702"/>
            <a:stretch>
              <a:fillRect/>
            </a:stretch>
          </p:blipFill>
          <p:spPr>
            <a:xfrm>
              <a:off x="7950968" y="5880546"/>
              <a:ext cx="881952" cy="247967"/>
            </a:xfrm>
            <a:prstGeom prst="roundRect">
              <a:avLst>
                <a:gd name="adj" fmla="val 50000"/>
              </a:avLst>
            </a:prstGeom>
            <a:noFill/>
            <a:ln w="38100">
              <a:solidFill>
                <a:schemeClr val="accent1"/>
              </a:solidFill>
            </a:ln>
            <a:effectLst>
              <a:outerShdw blurRad="38100" sx="105000" sy="105000" algn="ctr" rotWithShape="0">
                <a:schemeClr val="accent1">
                  <a:lumMod val="50000"/>
                  <a:alpha val="40000"/>
                </a:schemeClr>
              </a:outerShdw>
            </a:effectLst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BEF74C54-9E0F-FBB1-842C-5E924C8E766B}"/>
              </a:ext>
            </a:extLst>
          </p:cNvPr>
          <p:cNvPicPr>
            <a:picLocks/>
          </p:cNvPicPr>
          <p:nvPr/>
        </p:nvPicPr>
        <p:blipFill>
          <a:blip r:embed="rId13"/>
          <a:stretch>
            <a:fillRect/>
          </a:stretch>
        </p:blipFill>
        <p:spPr>
          <a:xfrm>
            <a:off x="4900851" y="2081563"/>
            <a:ext cx="288000" cy="288000"/>
          </a:xfrm>
          <a:prstGeom prst="flowChartConnector">
            <a:avLst/>
          </a:prstGeom>
          <a:solidFill>
            <a:schemeClr val="accent5">
              <a:lumMod val="60000"/>
              <a:lumOff val="40000"/>
            </a:schemeClr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89DA920-C4A3-5E16-F584-348D917D5C26}"/>
              </a:ext>
            </a:extLst>
          </p:cNvPr>
          <p:cNvPicPr>
            <a:picLocks/>
          </p:cNvPicPr>
          <p:nvPr/>
        </p:nvPicPr>
        <p:blipFill>
          <a:blip r:embed="rId14"/>
          <a:stretch>
            <a:fillRect/>
          </a:stretch>
        </p:blipFill>
        <p:spPr>
          <a:xfrm>
            <a:off x="993801" y="2081563"/>
            <a:ext cx="288000" cy="288000"/>
          </a:xfrm>
          <a:prstGeom prst="flowChartConnector">
            <a:avLst/>
          </a:prstGeom>
          <a:solidFill>
            <a:schemeClr val="accent5">
              <a:lumMod val="60000"/>
              <a:lumOff val="40000"/>
            </a:schemeClr>
          </a:solidFill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3FD33E7-320D-BACE-EAA4-E70BAFC9D56D}"/>
              </a:ext>
            </a:extLst>
          </p:cNvPr>
          <p:cNvPicPr>
            <a:picLocks/>
          </p:cNvPicPr>
          <p:nvPr/>
        </p:nvPicPr>
        <p:blipFill>
          <a:blip r:embed="rId15"/>
          <a:stretch>
            <a:fillRect/>
          </a:stretch>
        </p:blipFill>
        <p:spPr>
          <a:xfrm>
            <a:off x="9752013" y="2081563"/>
            <a:ext cx="288000" cy="282000"/>
          </a:xfrm>
          <a:prstGeom prst="flowChartConnector">
            <a:avLst/>
          </a:prstGeom>
          <a:solidFill>
            <a:schemeClr val="accent5">
              <a:lumMod val="60000"/>
              <a:lumOff val="4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039872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F5B038-CF88-2EB0-55F0-3865C8D2718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9" imgH="349" progId="TCLayout.ActiveDocument.1">
                  <p:embed/>
                </p:oleObj>
              </mc:Choice>
              <mc:Fallback>
                <p:oleObj name="think-cell Slide" r:id="rId8" imgW="349" imgH="34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F5B038-CF88-2EB0-55F0-3865C8D27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/>
          </p:cNvSpPr>
          <p:nvPr>
            <p:ph type="title"/>
          </p:nvPr>
        </p:nvSpPr>
        <p:spPr/>
        <p:txBody>
          <a:bodyPr vert="horz" wrap="square" rIns="0">
            <a:spAutoFit/>
          </a:bodyPr>
          <a:lstStyle/>
          <a:p>
            <a:r>
              <a:rPr lang="en-US" dirty="0"/>
              <a:t>Inserting slides, templates, or elements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D00C27FE-DD5D-347F-3149-B2394CF0FF0A}"/>
              </a:ext>
            </a:extLst>
          </p:cNvPr>
          <p:cNvGrpSpPr/>
          <p:nvPr/>
        </p:nvGrpSpPr>
        <p:grpSpPr>
          <a:xfrm>
            <a:off x="408003" y="2165738"/>
            <a:ext cx="4790900" cy="4228157"/>
            <a:chOff x="408063" y="1853021"/>
            <a:chExt cx="4903872" cy="4352137"/>
          </a:xfrm>
        </p:grpSpPr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927FA480-FA04-8D2C-1DE3-6E10D1EFDB4E}"/>
                </a:ext>
              </a:extLst>
            </p:cNvPr>
            <p:cNvPicPr>
              <a:picLocks/>
            </p:cNvPicPr>
            <p:nvPr/>
          </p:nvPicPr>
          <p:blipFill>
            <a:blip r:embed="rId10"/>
            <a:srcRect l="26027" t="38305" r="49827" b="22323"/>
            <a:stretch>
              <a:fillRect/>
            </a:stretch>
          </p:blipFill>
          <p:spPr>
            <a:xfrm>
              <a:off x="410319" y="1853021"/>
              <a:ext cx="4901616" cy="4352137"/>
            </a:xfrm>
            <a:prstGeom prst="roundRect">
              <a:avLst>
                <a:gd name="adj" fmla="val 2675"/>
              </a:avLst>
            </a:prstGeom>
            <a:ln w="76200">
              <a:solidFill>
                <a:schemeClr val="bg2">
                  <a:alpha val="50000"/>
                </a:schemeClr>
              </a:solidFill>
            </a:ln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CE64FA4F-FA99-CCED-692D-3A258F925C0B}"/>
                </a:ext>
              </a:extLst>
            </p:cNvPr>
            <p:cNvPicPr>
              <a:picLocks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08151" y="2749067"/>
              <a:ext cx="4620824" cy="2599213"/>
            </a:xfrm>
            <a:prstGeom prst="rect">
              <a:avLst/>
            </a:prstGeom>
            <a:ln w="57150">
              <a:noFill/>
            </a:ln>
            <a:effectLst>
              <a:outerShdw blurRad="508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4AB843DA-417E-DF17-6C32-54BB2CBD54F2}"/>
                </a:ext>
              </a:extLst>
            </p:cNvPr>
            <p:cNvSpPr/>
            <p:nvPr/>
          </p:nvSpPr>
          <p:spPr>
            <a:xfrm>
              <a:off x="408063" y="2744159"/>
              <a:ext cx="4618427" cy="2599199"/>
            </a:xfrm>
            <a:prstGeom prst="roundRect">
              <a:avLst>
                <a:gd name="adj" fmla="val 1235"/>
              </a:avLst>
            </a:prstGeom>
            <a:solidFill>
              <a:schemeClr val="bg1">
                <a:alpha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99868157-F9B5-4D8D-CE29-0788D4BFAFB1}"/>
                </a:ext>
              </a:extLst>
            </p:cNvPr>
            <p:cNvGrpSpPr/>
            <p:nvPr/>
          </p:nvGrpSpPr>
          <p:grpSpPr>
            <a:xfrm>
              <a:off x="2861127" y="4627477"/>
              <a:ext cx="1982954" cy="558267"/>
              <a:chOff x="2861127" y="4627477"/>
              <a:chExt cx="1982954" cy="558267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AF3E9D6E-3068-5F16-53F8-811C880D0D94}"/>
                  </a:ext>
                </a:extLst>
              </p:cNvPr>
              <p:cNvPicPr>
                <a:picLocks/>
              </p:cNvPicPr>
              <p:nvPr>
                <p:custDataLst>
                  <p:tags r:id="rId4"/>
                </p:custDataLst>
              </p:nvPr>
            </p:nvPicPr>
            <p:blipFill>
              <a:blip r:embed="rId12"/>
              <a:srcRect/>
              <a:stretch/>
            </p:blipFill>
            <p:spPr>
              <a:xfrm>
                <a:off x="2861127" y="4627478"/>
                <a:ext cx="558266" cy="558266"/>
              </a:xfrm>
              <a:prstGeom prst="flowChartConnector">
                <a:avLst/>
              </a:prstGeom>
              <a:solidFill>
                <a:schemeClr val="bg1">
                  <a:lumMod val="95000"/>
                </a:schemeClr>
              </a:solidFill>
              <a:ln w="38100">
                <a:solidFill>
                  <a:schemeClr val="bg1"/>
                </a:solidFill>
              </a:ln>
              <a:effectLst>
                <a:outerShdw blurRad="101600" sx="105000" sy="105000" algn="ctr" rotWithShape="0">
                  <a:schemeClr val="accent1">
                    <a:lumMod val="50000"/>
                    <a:alpha val="30000"/>
                  </a:schemeClr>
                </a:outerShdw>
              </a:effectLst>
            </p:spPr>
          </p:pic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id="{2EBFBF20-324E-0B37-B9E0-02A760113067}"/>
                  </a:ext>
                </a:extLst>
              </p:cNvPr>
              <p:cNvPicPr>
                <a:picLocks/>
              </p:cNvPicPr>
              <p:nvPr>
                <p:custDataLst>
                  <p:tags r:id="rId5"/>
                </p:custDataLst>
              </p:nvPr>
            </p:nvPicPr>
            <p:blipFill>
              <a:blip r:embed="rId13"/>
              <a:srcRect/>
              <a:stretch/>
            </p:blipFill>
            <p:spPr>
              <a:xfrm>
                <a:off x="3573469" y="4627477"/>
                <a:ext cx="558269" cy="558267"/>
              </a:xfrm>
              <a:prstGeom prst="flowChartConnector">
                <a:avLst/>
              </a:prstGeom>
              <a:solidFill>
                <a:schemeClr val="bg1">
                  <a:lumMod val="95000"/>
                </a:schemeClr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  <a:effectLst>
                <a:outerShdw blurRad="101600" sx="105000" sy="105000" algn="ctr" rotWithShape="0">
                  <a:schemeClr val="accent1">
                    <a:lumMod val="50000"/>
                    <a:alpha val="30000"/>
                  </a:schemeClr>
                </a:outerShdw>
              </a:effectLst>
            </p:spPr>
          </p:pic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C1ABA0A5-F3A7-D1F1-B3E8-A04BDBC846F7}"/>
                  </a:ext>
                </a:extLst>
              </p:cNvPr>
              <p:cNvGrpSpPr/>
              <p:nvPr/>
            </p:nvGrpSpPr>
            <p:grpSpPr>
              <a:xfrm>
                <a:off x="4285814" y="4627477"/>
                <a:ext cx="558267" cy="558267"/>
                <a:chOff x="4285814" y="4627477"/>
                <a:chExt cx="558267" cy="558267"/>
              </a:xfrm>
            </p:grpSpPr>
            <p:sp>
              <p:nvSpPr>
                <p:cNvPr id="63" name="Free-form: Shape 62">
                  <a:extLst>
                    <a:ext uri="{FF2B5EF4-FFF2-40B4-BE49-F238E27FC236}">
                      <a16:creationId xmlns:a16="http://schemas.microsoft.com/office/drawing/2014/main" id="{62BAE58D-B0DA-85AA-1006-ECCF7F632A6A}"/>
                    </a:ext>
                  </a:extLst>
                </p:cNvPr>
                <p:cNvSpPr/>
                <p:nvPr/>
              </p:nvSpPr>
              <p:spPr>
                <a:xfrm>
                  <a:off x="4285814" y="4627477"/>
                  <a:ext cx="558267" cy="558267"/>
                </a:xfrm>
                <a:custGeom>
                  <a:avLst/>
                  <a:gdLst>
                    <a:gd name="connsiteX0" fmla="*/ 279134 w 558267"/>
                    <a:gd name="connsiteY0" fmla="*/ 558267 h 558267"/>
                    <a:gd name="connsiteX1" fmla="*/ 558267 w 558267"/>
                    <a:gd name="connsiteY1" fmla="*/ 279134 h 558267"/>
                    <a:gd name="connsiteX2" fmla="*/ 279134 w 558267"/>
                    <a:gd name="connsiteY2" fmla="*/ 0 h 558267"/>
                    <a:gd name="connsiteX3" fmla="*/ 0 w 558267"/>
                    <a:gd name="connsiteY3" fmla="*/ 279134 h 558267"/>
                    <a:gd name="connsiteX4" fmla="*/ 279134 w 558267"/>
                    <a:gd name="connsiteY4" fmla="*/ 558267 h 558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8267" h="558267">
                      <a:moveTo>
                        <a:pt x="279134" y="558267"/>
                      </a:moveTo>
                      <a:cubicBezTo>
                        <a:pt x="433215" y="558267"/>
                        <a:pt x="558267" y="433215"/>
                        <a:pt x="558267" y="279134"/>
                      </a:cubicBezTo>
                      <a:cubicBezTo>
                        <a:pt x="558267" y="125052"/>
                        <a:pt x="433215" y="0"/>
                        <a:pt x="279134" y="0"/>
                      </a:cubicBezTo>
                      <a:cubicBezTo>
                        <a:pt x="125052" y="0"/>
                        <a:pt x="0" y="125052"/>
                        <a:pt x="0" y="279134"/>
                      </a:cubicBezTo>
                      <a:cubicBezTo>
                        <a:pt x="0" y="433215"/>
                        <a:pt x="125052" y="558267"/>
                        <a:pt x="279134" y="558267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38100" cap="flat">
                  <a:solidFill>
                    <a:schemeClr val="bg1"/>
                  </a:solidFill>
                  <a:prstDash val="solid"/>
                  <a:miter/>
                </a:ln>
                <a:effectLst>
                  <a:outerShdw blurRad="101600" sx="105000" sy="105000" algn="ctr" rotWithShape="0">
                    <a:schemeClr val="accent1">
                      <a:lumMod val="50000"/>
                      <a:alpha val="30000"/>
                    </a:scheme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-form: Shape 63">
                  <a:extLst>
                    <a:ext uri="{FF2B5EF4-FFF2-40B4-BE49-F238E27FC236}">
                      <a16:creationId xmlns:a16="http://schemas.microsoft.com/office/drawing/2014/main" id="{F0E0084B-9082-A87F-A45A-1D6608F5B459}"/>
                    </a:ext>
                  </a:extLst>
                </p:cNvPr>
                <p:cNvSpPr/>
                <p:nvPr/>
              </p:nvSpPr>
              <p:spPr>
                <a:xfrm>
                  <a:off x="4406771" y="4748434"/>
                  <a:ext cx="223306" cy="223306"/>
                </a:xfrm>
                <a:custGeom>
                  <a:avLst/>
                  <a:gdLst>
                    <a:gd name="connsiteX0" fmla="*/ 223307 w 223306"/>
                    <a:gd name="connsiteY0" fmla="*/ 0 h 223306"/>
                    <a:gd name="connsiteX1" fmla="*/ 223307 w 223306"/>
                    <a:gd name="connsiteY1" fmla="*/ 223307 h 223306"/>
                    <a:gd name="connsiteX2" fmla="*/ 0 w 223306"/>
                    <a:gd name="connsiteY2" fmla="*/ 223307 h 223306"/>
                    <a:gd name="connsiteX3" fmla="*/ 0 w 223306"/>
                    <a:gd name="connsiteY3" fmla="*/ 0 h 223306"/>
                    <a:gd name="connsiteX4" fmla="*/ 223307 w 223306"/>
                    <a:gd name="connsiteY4" fmla="*/ 0 h 223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3306" h="223306">
                      <a:moveTo>
                        <a:pt x="223307" y="0"/>
                      </a:moveTo>
                      <a:lnTo>
                        <a:pt x="223307" y="223307"/>
                      </a:lnTo>
                      <a:lnTo>
                        <a:pt x="0" y="223307"/>
                      </a:lnTo>
                      <a:lnTo>
                        <a:pt x="0" y="0"/>
                      </a:lnTo>
                      <a:lnTo>
                        <a:pt x="223307" y="0"/>
                      </a:lnTo>
                      <a:close/>
                    </a:path>
                  </a:pathLst>
                </a:custGeom>
                <a:solidFill>
                  <a:srgbClr val="2972FF"/>
                </a:solidFill>
                <a:ln w="18415" cap="flat">
                  <a:solidFill>
                    <a:srgbClr val="8EC1FF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-form: Shape 64">
                  <a:extLst>
                    <a:ext uri="{FF2B5EF4-FFF2-40B4-BE49-F238E27FC236}">
                      <a16:creationId xmlns:a16="http://schemas.microsoft.com/office/drawing/2014/main" id="{14BB4EB1-4E56-1656-0B3C-442DC598D932}"/>
                    </a:ext>
                  </a:extLst>
                </p:cNvPr>
                <p:cNvSpPr/>
                <p:nvPr/>
              </p:nvSpPr>
              <p:spPr>
                <a:xfrm>
                  <a:off x="4518425" y="4860088"/>
                  <a:ext cx="241915" cy="241915"/>
                </a:xfrm>
                <a:custGeom>
                  <a:avLst/>
                  <a:gdLst>
                    <a:gd name="connsiteX0" fmla="*/ 120958 w 241915"/>
                    <a:gd name="connsiteY0" fmla="*/ 0 h 241915"/>
                    <a:gd name="connsiteX1" fmla="*/ 241916 w 241915"/>
                    <a:gd name="connsiteY1" fmla="*/ 120958 h 241915"/>
                    <a:gd name="connsiteX2" fmla="*/ 120958 w 241915"/>
                    <a:gd name="connsiteY2" fmla="*/ 241916 h 241915"/>
                    <a:gd name="connsiteX3" fmla="*/ 0 w 241915"/>
                    <a:gd name="connsiteY3" fmla="*/ 120958 h 241915"/>
                    <a:gd name="connsiteX4" fmla="*/ 120958 w 241915"/>
                    <a:gd name="connsiteY4" fmla="*/ 0 h 241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1915" h="241915">
                      <a:moveTo>
                        <a:pt x="120958" y="0"/>
                      </a:moveTo>
                      <a:cubicBezTo>
                        <a:pt x="187764" y="0"/>
                        <a:pt x="241916" y="54152"/>
                        <a:pt x="241916" y="120958"/>
                      </a:cubicBezTo>
                      <a:cubicBezTo>
                        <a:pt x="241916" y="187764"/>
                        <a:pt x="187764" y="241916"/>
                        <a:pt x="120958" y="241916"/>
                      </a:cubicBezTo>
                      <a:cubicBezTo>
                        <a:pt x="54152" y="241916"/>
                        <a:pt x="0" y="187764"/>
                        <a:pt x="0" y="120958"/>
                      </a:cubicBezTo>
                      <a:cubicBezTo>
                        <a:pt x="0" y="54152"/>
                        <a:pt x="54152" y="0"/>
                        <a:pt x="120958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8415" cap="flat">
                  <a:solidFill>
                    <a:srgbClr val="797774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529BA8C-2F29-E3EE-386E-02553E48C8AA}"/>
                </a:ext>
              </a:extLst>
            </p:cNvPr>
            <p:cNvGrpSpPr/>
            <p:nvPr/>
          </p:nvGrpSpPr>
          <p:grpSpPr>
            <a:xfrm>
              <a:off x="408063" y="2744158"/>
              <a:ext cx="4622760" cy="2603557"/>
              <a:chOff x="408063" y="2488656"/>
              <a:chExt cx="4622761" cy="2603557"/>
            </a:xfrm>
          </p:grpSpPr>
          <p:sp>
            <p:nvSpPr>
              <p:cNvPr id="7" name="Trapezium 6">
                <a:extLst>
                  <a:ext uri="{FF2B5EF4-FFF2-40B4-BE49-F238E27FC236}">
                    <a16:creationId xmlns:a16="http://schemas.microsoft.com/office/drawing/2014/main" id="{FB719C38-3EBB-ACB4-9376-D5A0D94AB4AE}"/>
                  </a:ext>
                </a:extLst>
              </p:cNvPr>
              <p:cNvSpPr/>
              <p:nvPr/>
            </p:nvSpPr>
            <p:spPr>
              <a:xfrm>
                <a:off x="408063" y="4966224"/>
                <a:ext cx="4621051" cy="125989"/>
              </a:xfrm>
              <a:prstGeom prst="trapezoid">
                <a:avLst>
                  <a:gd name="adj" fmla="val 101088"/>
                </a:avLst>
              </a:prstGeom>
              <a:gradFill flip="none" rotWithShape="1">
                <a:gsLst>
                  <a:gs pos="0">
                    <a:srgbClr val="EAB78B"/>
                  </a:gs>
                  <a:gs pos="70000">
                    <a:srgbClr val="EAB78B">
                      <a:alpha val="60000"/>
                    </a:srgbClr>
                  </a:gs>
                  <a:gs pos="100000">
                    <a:srgbClr val="EAB78B">
                      <a:alpha val="0"/>
                    </a:srgbClr>
                  </a:gs>
                </a:gsLst>
                <a:lin ang="16200000" scaled="1"/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" name="Trapezium 7">
                <a:extLst>
                  <a:ext uri="{FF2B5EF4-FFF2-40B4-BE49-F238E27FC236}">
                    <a16:creationId xmlns:a16="http://schemas.microsoft.com/office/drawing/2014/main" id="{5E81AA14-1969-6B1F-32A4-E31F6098AF48}"/>
                  </a:ext>
                </a:extLst>
              </p:cNvPr>
              <p:cNvSpPr/>
              <p:nvPr/>
            </p:nvSpPr>
            <p:spPr>
              <a:xfrm rot="5400000">
                <a:off x="-828093" y="3726414"/>
                <a:ext cx="2597598" cy="125286"/>
              </a:xfrm>
              <a:prstGeom prst="trapezoid">
                <a:avLst>
                  <a:gd name="adj" fmla="val 52667"/>
                </a:avLst>
              </a:prstGeom>
              <a:gradFill flip="none" rotWithShape="1">
                <a:gsLst>
                  <a:gs pos="0">
                    <a:srgbClr val="EAB78B"/>
                  </a:gs>
                  <a:gs pos="70000">
                    <a:srgbClr val="EAB78B">
                      <a:alpha val="60000"/>
                    </a:srgbClr>
                  </a:gs>
                  <a:gs pos="100000">
                    <a:srgbClr val="EAB78B">
                      <a:alpha val="0"/>
                    </a:srgbClr>
                  </a:gs>
                </a:gsLst>
                <a:lin ang="16200000" scaled="1"/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" name="Trapezium 9">
                <a:extLst>
                  <a:ext uri="{FF2B5EF4-FFF2-40B4-BE49-F238E27FC236}">
                    <a16:creationId xmlns:a16="http://schemas.microsoft.com/office/drawing/2014/main" id="{AFF4E591-554F-7907-341A-17E80C821D61}"/>
                  </a:ext>
                </a:extLst>
              </p:cNvPr>
              <p:cNvSpPr/>
              <p:nvPr/>
            </p:nvSpPr>
            <p:spPr>
              <a:xfrm flipV="1">
                <a:off x="408063" y="2488656"/>
                <a:ext cx="4621051" cy="125989"/>
              </a:xfrm>
              <a:prstGeom prst="trapezoid">
                <a:avLst>
                  <a:gd name="adj" fmla="val 101088"/>
                </a:avLst>
              </a:prstGeom>
              <a:gradFill flip="none" rotWithShape="1">
                <a:gsLst>
                  <a:gs pos="0">
                    <a:srgbClr val="EAB78B"/>
                  </a:gs>
                  <a:gs pos="70000">
                    <a:srgbClr val="EAB78B">
                      <a:alpha val="60000"/>
                    </a:srgbClr>
                  </a:gs>
                  <a:gs pos="100000">
                    <a:srgbClr val="EAB78B">
                      <a:alpha val="0"/>
                    </a:srgbClr>
                  </a:gs>
                </a:gsLst>
                <a:lin ang="16200000" scaled="1"/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" name="Trapezium 10">
                <a:extLst>
                  <a:ext uri="{FF2B5EF4-FFF2-40B4-BE49-F238E27FC236}">
                    <a16:creationId xmlns:a16="http://schemas.microsoft.com/office/drawing/2014/main" id="{7B8FBA87-A743-DF75-ACDC-48D8A12C3046}"/>
                  </a:ext>
                </a:extLst>
              </p:cNvPr>
              <p:cNvSpPr/>
              <p:nvPr/>
            </p:nvSpPr>
            <p:spPr>
              <a:xfrm rot="16200000" flipH="1">
                <a:off x="3669382" y="3724813"/>
                <a:ext cx="2597598" cy="125286"/>
              </a:xfrm>
              <a:prstGeom prst="trapezoid">
                <a:avLst>
                  <a:gd name="adj" fmla="val 52667"/>
                </a:avLst>
              </a:prstGeom>
              <a:gradFill flip="none" rotWithShape="1">
                <a:gsLst>
                  <a:gs pos="0">
                    <a:srgbClr val="EAB78B"/>
                  </a:gs>
                  <a:gs pos="70000">
                    <a:srgbClr val="EAB78B">
                      <a:alpha val="60000"/>
                    </a:srgbClr>
                  </a:gs>
                  <a:gs pos="100000">
                    <a:srgbClr val="EAB78B">
                      <a:alpha val="0"/>
                    </a:srgbClr>
                  </a:gs>
                </a:gsLst>
                <a:lin ang="16200000" scaled="1"/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802DF0AD-5200-6601-9261-DA9ED8F0BFDF}"/>
              </a:ext>
            </a:extLst>
          </p:cNvPr>
          <p:cNvGrpSpPr/>
          <p:nvPr/>
        </p:nvGrpSpPr>
        <p:grpSpPr>
          <a:xfrm>
            <a:off x="5519755" y="3958054"/>
            <a:ext cx="6303644" cy="680175"/>
            <a:chOff x="5519755" y="3668046"/>
            <a:chExt cx="6303644" cy="680175"/>
          </a:xfrm>
        </p:grpSpPr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3F88CC43-3F4C-F779-1EBF-71CD3BE85A45}"/>
                </a:ext>
              </a:extLst>
            </p:cNvPr>
            <p:cNvPicPr>
              <a:picLocks/>
            </p:cNvPicPr>
            <p:nvPr>
              <p:custDataLst>
                <p:tags r:id="rId3"/>
              </p:custDataLst>
            </p:nvPr>
          </p:nvPicPr>
          <p:blipFill>
            <a:blip r:embed="rId13"/>
            <a:srcRect/>
            <a:stretch/>
          </p:blipFill>
          <p:spPr>
            <a:xfrm>
              <a:off x="5519755" y="3668046"/>
              <a:ext cx="680177" cy="680175"/>
            </a:xfrm>
            <a:prstGeom prst="flowChartConnector">
              <a:avLst/>
            </a:pr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  <a:effectLst>
              <a:outerShdw blurRad="63500" sx="105000" sy="105000" algn="ctr" rotWithShape="0">
                <a:schemeClr val="accent1">
                  <a:alpha val="20000"/>
                </a:schemeClr>
              </a:outerShdw>
            </a:effectLst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FC72667-AF02-D5B2-C8A6-35FE08F26C00}"/>
                </a:ext>
              </a:extLst>
            </p:cNvPr>
            <p:cNvSpPr txBox="1"/>
            <p:nvPr/>
          </p:nvSpPr>
          <p:spPr>
            <a:xfrm>
              <a:off x="6346571" y="3761912"/>
              <a:ext cx="547682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serts a new slide with its original formatting preserved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D9E9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lors, fonts and slide master are kept exactly as designed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D9E9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C28DEF7-014E-9AAD-5803-F61240FB75FD}"/>
              </a:ext>
            </a:extLst>
          </p:cNvPr>
          <p:cNvGrpSpPr/>
          <p:nvPr/>
        </p:nvGrpSpPr>
        <p:grpSpPr>
          <a:xfrm>
            <a:off x="5519755" y="2581324"/>
            <a:ext cx="6303644" cy="680174"/>
            <a:chOff x="5519755" y="2291316"/>
            <a:chExt cx="6303644" cy="680174"/>
          </a:xfrm>
        </p:grpSpPr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D15F010B-1BEE-C208-0C30-2483FC7472D5}"/>
                </a:ext>
              </a:extLst>
            </p:cNvPr>
            <p:cNvPicPr>
              <a:picLocks/>
            </p:cNvPicPr>
            <p:nvPr>
              <p:custDataLst>
                <p:tags r:id="rId2"/>
              </p:custDataLst>
            </p:nvPr>
          </p:nvPicPr>
          <p:blipFill>
            <a:blip r:embed="rId12"/>
            <a:srcRect/>
            <a:stretch/>
          </p:blipFill>
          <p:spPr>
            <a:xfrm>
              <a:off x="5519755" y="2291316"/>
              <a:ext cx="680174" cy="680174"/>
            </a:xfrm>
            <a:prstGeom prst="flowChartConnector">
              <a:avLst/>
            </a:prstGeom>
            <a:solidFill>
              <a:schemeClr val="bg2"/>
            </a:solidFill>
            <a:ln w="38100">
              <a:solidFill>
                <a:schemeClr val="bg1"/>
              </a:solidFill>
            </a:ln>
            <a:effectLst>
              <a:outerShdw blurRad="63500" sx="105000" sy="105000" algn="ctr" rotWithShape="0">
                <a:schemeClr val="accent1">
                  <a:alpha val="20000"/>
                </a:schemeClr>
              </a:outerShdw>
            </a:effectLst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E1D84E6-68D6-8CD2-C72F-2BF817C10B54}"/>
                </a:ext>
              </a:extLst>
            </p:cNvPr>
            <p:cNvSpPr txBox="1"/>
            <p:nvPr/>
          </p:nvSpPr>
          <p:spPr>
            <a:xfrm>
              <a:off x="6346571" y="2385182"/>
              <a:ext cx="547682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serts a new slide with your presentation’s formatting</a:t>
              </a:r>
            </a:p>
            <a:p>
              <a:pPr marL="0" marR="0" lvl="0" indent="0" algn="l" defTabSz="919163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D9E9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lors, fonts automatically adapt to your current theme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8FF7127A-1DCC-4D6D-B835-913C86EBD052}"/>
              </a:ext>
            </a:extLst>
          </p:cNvPr>
          <p:cNvGrpSpPr/>
          <p:nvPr/>
        </p:nvGrpSpPr>
        <p:grpSpPr>
          <a:xfrm>
            <a:off x="5519755" y="5410958"/>
            <a:ext cx="6303644" cy="680175"/>
            <a:chOff x="5519755" y="5120950"/>
            <a:chExt cx="6303644" cy="680175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43C66C06-D9AE-DD89-C1D1-A4FD3A654F6E}"/>
                </a:ext>
              </a:extLst>
            </p:cNvPr>
            <p:cNvGrpSpPr/>
            <p:nvPr/>
          </p:nvGrpSpPr>
          <p:grpSpPr>
            <a:xfrm>
              <a:off x="5519755" y="5120950"/>
              <a:ext cx="680175" cy="680175"/>
              <a:chOff x="4285814" y="4371975"/>
              <a:chExt cx="558267" cy="558267"/>
            </a:xfrm>
          </p:grpSpPr>
          <p:sp>
            <p:nvSpPr>
              <p:cNvPr id="81" name="Free-form: Shape 80">
                <a:extLst>
                  <a:ext uri="{FF2B5EF4-FFF2-40B4-BE49-F238E27FC236}">
                    <a16:creationId xmlns:a16="http://schemas.microsoft.com/office/drawing/2014/main" id="{88599613-9060-029B-5F1E-C65E0522691A}"/>
                  </a:ext>
                </a:extLst>
              </p:cNvPr>
              <p:cNvSpPr/>
              <p:nvPr/>
            </p:nvSpPr>
            <p:spPr>
              <a:xfrm>
                <a:off x="4285814" y="4371975"/>
                <a:ext cx="558267" cy="558267"/>
              </a:xfrm>
              <a:custGeom>
                <a:avLst/>
                <a:gdLst>
                  <a:gd name="connsiteX0" fmla="*/ 279134 w 558267"/>
                  <a:gd name="connsiteY0" fmla="*/ 558267 h 558267"/>
                  <a:gd name="connsiteX1" fmla="*/ 558267 w 558267"/>
                  <a:gd name="connsiteY1" fmla="*/ 279134 h 558267"/>
                  <a:gd name="connsiteX2" fmla="*/ 279134 w 558267"/>
                  <a:gd name="connsiteY2" fmla="*/ 0 h 558267"/>
                  <a:gd name="connsiteX3" fmla="*/ 0 w 558267"/>
                  <a:gd name="connsiteY3" fmla="*/ 279134 h 558267"/>
                  <a:gd name="connsiteX4" fmla="*/ 279134 w 558267"/>
                  <a:gd name="connsiteY4" fmla="*/ 558267 h 558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8267" h="558267">
                    <a:moveTo>
                      <a:pt x="279134" y="558267"/>
                    </a:moveTo>
                    <a:cubicBezTo>
                      <a:pt x="433215" y="558267"/>
                      <a:pt x="558267" y="433215"/>
                      <a:pt x="558267" y="279134"/>
                    </a:cubicBezTo>
                    <a:cubicBezTo>
                      <a:pt x="558267" y="125052"/>
                      <a:pt x="433215" y="0"/>
                      <a:pt x="279134" y="0"/>
                    </a:cubicBezTo>
                    <a:cubicBezTo>
                      <a:pt x="125052" y="0"/>
                      <a:pt x="0" y="125052"/>
                      <a:pt x="0" y="279134"/>
                    </a:cubicBezTo>
                    <a:cubicBezTo>
                      <a:pt x="0" y="433215"/>
                      <a:pt x="125052" y="558267"/>
                      <a:pt x="279134" y="558267"/>
                    </a:cubicBezTo>
                    <a:close/>
                  </a:path>
                </a:pathLst>
              </a:custGeom>
              <a:solidFill>
                <a:srgbClr val="EBEBEB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  <a:effectLst>
                <a:outerShdw blurRad="63500" sx="105000" sy="105000" algn="ctr" rotWithShape="0">
                  <a:schemeClr val="accent1">
                    <a:alpha val="2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Free-form: Shape 82">
                <a:extLst>
                  <a:ext uri="{FF2B5EF4-FFF2-40B4-BE49-F238E27FC236}">
                    <a16:creationId xmlns:a16="http://schemas.microsoft.com/office/drawing/2014/main" id="{E278E36A-FBA8-C6A6-08ED-FA642D3BDA67}"/>
                  </a:ext>
                </a:extLst>
              </p:cNvPr>
              <p:cNvSpPr/>
              <p:nvPr/>
            </p:nvSpPr>
            <p:spPr>
              <a:xfrm>
                <a:off x="4406771" y="4492932"/>
                <a:ext cx="223306" cy="223306"/>
              </a:xfrm>
              <a:custGeom>
                <a:avLst/>
                <a:gdLst>
                  <a:gd name="connsiteX0" fmla="*/ 223307 w 223306"/>
                  <a:gd name="connsiteY0" fmla="*/ 0 h 223306"/>
                  <a:gd name="connsiteX1" fmla="*/ 223307 w 223306"/>
                  <a:gd name="connsiteY1" fmla="*/ 223307 h 223306"/>
                  <a:gd name="connsiteX2" fmla="*/ 0 w 223306"/>
                  <a:gd name="connsiteY2" fmla="*/ 223307 h 223306"/>
                  <a:gd name="connsiteX3" fmla="*/ 0 w 223306"/>
                  <a:gd name="connsiteY3" fmla="*/ 0 h 223306"/>
                  <a:gd name="connsiteX4" fmla="*/ 223307 w 223306"/>
                  <a:gd name="connsiteY4" fmla="*/ 0 h 223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3306" h="223306">
                    <a:moveTo>
                      <a:pt x="223307" y="0"/>
                    </a:moveTo>
                    <a:lnTo>
                      <a:pt x="223307" y="223307"/>
                    </a:lnTo>
                    <a:lnTo>
                      <a:pt x="0" y="223307"/>
                    </a:lnTo>
                    <a:lnTo>
                      <a:pt x="0" y="0"/>
                    </a:lnTo>
                    <a:lnTo>
                      <a:pt x="223307" y="0"/>
                    </a:lnTo>
                    <a:close/>
                  </a:path>
                </a:pathLst>
              </a:custGeom>
              <a:solidFill>
                <a:srgbClr val="2972FF"/>
              </a:solidFill>
              <a:ln w="18415" cap="flat">
                <a:solidFill>
                  <a:srgbClr val="8EC1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Free-form: Shape 83">
                <a:extLst>
                  <a:ext uri="{FF2B5EF4-FFF2-40B4-BE49-F238E27FC236}">
                    <a16:creationId xmlns:a16="http://schemas.microsoft.com/office/drawing/2014/main" id="{E1069AFD-4362-33F5-A768-5B0BB9C33FB6}"/>
                  </a:ext>
                </a:extLst>
              </p:cNvPr>
              <p:cNvSpPr/>
              <p:nvPr/>
            </p:nvSpPr>
            <p:spPr>
              <a:xfrm>
                <a:off x="4518425" y="4604586"/>
                <a:ext cx="241915" cy="241915"/>
              </a:xfrm>
              <a:custGeom>
                <a:avLst/>
                <a:gdLst>
                  <a:gd name="connsiteX0" fmla="*/ 120958 w 241915"/>
                  <a:gd name="connsiteY0" fmla="*/ 0 h 241915"/>
                  <a:gd name="connsiteX1" fmla="*/ 241916 w 241915"/>
                  <a:gd name="connsiteY1" fmla="*/ 120958 h 241915"/>
                  <a:gd name="connsiteX2" fmla="*/ 120958 w 241915"/>
                  <a:gd name="connsiteY2" fmla="*/ 241916 h 241915"/>
                  <a:gd name="connsiteX3" fmla="*/ 0 w 241915"/>
                  <a:gd name="connsiteY3" fmla="*/ 120958 h 241915"/>
                  <a:gd name="connsiteX4" fmla="*/ 120958 w 241915"/>
                  <a:gd name="connsiteY4" fmla="*/ 0 h 241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1915" h="241915">
                    <a:moveTo>
                      <a:pt x="120958" y="0"/>
                    </a:moveTo>
                    <a:cubicBezTo>
                      <a:pt x="187764" y="0"/>
                      <a:pt x="241916" y="54152"/>
                      <a:pt x="241916" y="120958"/>
                    </a:cubicBezTo>
                    <a:cubicBezTo>
                      <a:pt x="241916" y="187764"/>
                      <a:pt x="187764" y="241916"/>
                      <a:pt x="120958" y="241916"/>
                    </a:cubicBezTo>
                    <a:cubicBezTo>
                      <a:pt x="54152" y="241916"/>
                      <a:pt x="0" y="187764"/>
                      <a:pt x="0" y="120958"/>
                    </a:cubicBezTo>
                    <a:cubicBezTo>
                      <a:pt x="0" y="54152"/>
                      <a:pt x="54152" y="0"/>
                      <a:pt x="12095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8415" cap="flat">
                <a:solidFill>
                  <a:srgbClr val="79777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CA283C8-10EC-098B-13AE-A420D6077BF2}"/>
                </a:ext>
              </a:extLst>
            </p:cNvPr>
            <p:cNvSpPr txBox="1"/>
            <p:nvPr/>
          </p:nvSpPr>
          <p:spPr>
            <a:xfrm>
              <a:off x="6346571" y="5214816"/>
              <a:ext cx="547682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serts all elements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nto the current slide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D9E9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commended when you only need specific elements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D9E9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B25538F-AE6D-E65F-D3B5-55B278AD3D33}"/>
              </a:ext>
            </a:extLst>
          </p:cNvPr>
          <p:cNvGrpSpPr/>
          <p:nvPr/>
        </p:nvGrpSpPr>
        <p:grpSpPr>
          <a:xfrm>
            <a:off x="5519755" y="3617087"/>
            <a:ext cx="6303600" cy="1391352"/>
            <a:chOff x="5519755" y="3617087"/>
            <a:chExt cx="6303600" cy="1391352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7116E664-844C-6F91-41FF-9A480825F2A4}"/>
                </a:ext>
              </a:extLst>
            </p:cNvPr>
            <p:cNvCxnSpPr>
              <a:cxnSpLocks/>
            </p:cNvCxnSpPr>
            <p:nvPr/>
          </p:nvCxnSpPr>
          <p:spPr>
            <a:xfrm>
              <a:off x="5519755" y="3617087"/>
              <a:ext cx="6303600" cy="0"/>
            </a:xfrm>
            <a:prstGeom prst="line">
              <a:avLst/>
            </a:prstGeom>
            <a:noFill/>
            <a:ln w="12700" cap="rnd" cmpd="sng" algn="ctr">
              <a:solidFill>
                <a:schemeClr val="bg1">
                  <a:alpha val="20000"/>
                </a:schemeClr>
              </a:solidFill>
              <a:prstDash val="solid"/>
              <a:round/>
            </a:ln>
            <a:effectLst/>
          </p:spPr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45362D3-E6AB-30E8-A720-FB473F9F7C1C}"/>
                </a:ext>
              </a:extLst>
            </p:cNvPr>
            <p:cNvCxnSpPr>
              <a:cxnSpLocks/>
            </p:cNvCxnSpPr>
            <p:nvPr/>
          </p:nvCxnSpPr>
          <p:spPr>
            <a:xfrm>
              <a:off x="5519755" y="5008439"/>
              <a:ext cx="6303600" cy="0"/>
            </a:xfrm>
            <a:prstGeom prst="line">
              <a:avLst/>
            </a:prstGeom>
            <a:noFill/>
            <a:ln w="12700" cap="rnd" cmpd="sng" algn="ctr">
              <a:solidFill>
                <a:schemeClr val="bg1">
                  <a:alpha val="20000"/>
                </a:schemeClr>
              </a:solidFill>
              <a:prstDash val="solid"/>
              <a:round/>
            </a:ln>
            <a:effectLst/>
          </p:spPr>
        </p:cxnSp>
      </p:grp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6E8E1EEC-859D-B722-AB10-8233C7E15EB5}"/>
              </a:ext>
            </a:extLst>
          </p:cNvPr>
          <p:cNvSpPr/>
          <p:nvPr/>
        </p:nvSpPr>
        <p:spPr>
          <a:xfrm>
            <a:off x="407987" y="1343859"/>
            <a:ext cx="6048131" cy="33855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over over a slide to reveal insertion options</a:t>
            </a:r>
          </a:p>
        </p:txBody>
      </p:sp>
    </p:spTree>
    <p:extLst>
      <p:ext uri="{BB962C8B-B14F-4D97-AF65-F5344CB8AC3E}">
        <p14:creationId xmlns:p14="http://schemas.microsoft.com/office/powerpoint/2010/main" val="891978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1374DF55-2DD0-B894-9A3D-5D375D53C66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74DF55-2DD0-B894-9A3D-5D375D53C6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65453CD5-F808-E286-C562-AD4A4E3BF7BA}"/>
              </a:ext>
            </a:extLst>
          </p:cNvPr>
          <p:cNvGrpSpPr/>
          <p:nvPr/>
        </p:nvGrpSpPr>
        <p:grpSpPr>
          <a:xfrm>
            <a:off x="5519755" y="3617087"/>
            <a:ext cx="6303600" cy="1391352"/>
            <a:chOff x="5519755" y="3617087"/>
            <a:chExt cx="6303600" cy="1391352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F904B37-CA3D-E3D2-7CC0-43B2A038E310}"/>
                </a:ext>
              </a:extLst>
            </p:cNvPr>
            <p:cNvCxnSpPr>
              <a:cxnSpLocks/>
            </p:cNvCxnSpPr>
            <p:nvPr/>
          </p:nvCxnSpPr>
          <p:spPr>
            <a:xfrm>
              <a:off x="5519755" y="3617087"/>
              <a:ext cx="6303600" cy="0"/>
            </a:xfrm>
            <a:prstGeom prst="line">
              <a:avLst/>
            </a:prstGeom>
            <a:noFill/>
            <a:ln w="12700" cap="rnd" cmpd="sng" algn="ctr">
              <a:solidFill>
                <a:schemeClr val="bg1">
                  <a:alpha val="20000"/>
                </a:schemeClr>
              </a:solidFill>
              <a:prstDash val="solid"/>
              <a:round/>
            </a:ln>
            <a:effectLst/>
          </p:spPr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6DD147F4-29AF-B4DE-2F42-1CAD99406F96}"/>
                </a:ext>
              </a:extLst>
            </p:cNvPr>
            <p:cNvCxnSpPr>
              <a:cxnSpLocks/>
            </p:cNvCxnSpPr>
            <p:nvPr/>
          </p:nvCxnSpPr>
          <p:spPr>
            <a:xfrm>
              <a:off x="5519755" y="5008439"/>
              <a:ext cx="6303600" cy="0"/>
            </a:xfrm>
            <a:prstGeom prst="line">
              <a:avLst/>
            </a:prstGeom>
            <a:noFill/>
            <a:ln w="12700" cap="rnd" cmpd="sng" algn="ctr">
              <a:solidFill>
                <a:schemeClr val="bg1">
                  <a:alpha val="20000"/>
                </a:schemeClr>
              </a:solidFill>
              <a:prstDash val="solid"/>
              <a:round/>
            </a:ln>
            <a:effectLst/>
          </p:spPr>
        </p:cxnSp>
      </p:grp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26116B3E-59C2-2374-D02C-E1A1A4A55382}"/>
              </a:ext>
            </a:extLst>
          </p:cNvPr>
          <p:cNvSpPr/>
          <p:nvPr/>
        </p:nvSpPr>
        <p:spPr>
          <a:xfrm>
            <a:off x="407987" y="1343859"/>
            <a:ext cx="5039841" cy="33855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ter search terms in the search box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62F9F6-5C84-5E79-27AD-14F320DE9162}"/>
              </a:ext>
            </a:extLst>
          </p:cNvPr>
          <p:cNvSpPr>
            <a:spLocks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dirty="0"/>
              <a:t>Searching for content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30D88E4-6BE5-D11C-A920-1D88E9E3FAA0}"/>
              </a:ext>
            </a:extLst>
          </p:cNvPr>
          <p:cNvGrpSpPr/>
          <p:nvPr/>
        </p:nvGrpSpPr>
        <p:grpSpPr>
          <a:xfrm>
            <a:off x="5519755" y="2581324"/>
            <a:ext cx="6303644" cy="680175"/>
            <a:chOff x="5519755" y="2581324"/>
            <a:chExt cx="6303644" cy="680175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A98EBC2-E7AF-5CE6-AF26-205C3E2A091E}"/>
                </a:ext>
              </a:extLst>
            </p:cNvPr>
            <p:cNvSpPr txBox="1"/>
            <p:nvPr/>
          </p:nvSpPr>
          <p:spPr>
            <a:xfrm>
              <a:off x="6346571" y="2675190"/>
              <a:ext cx="547682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ghlighted slide text</a:t>
              </a:r>
            </a:p>
            <a:p>
              <a:pPr marL="0" marR="0" lvl="0" indent="0" algn="l" defTabSz="919163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D9E9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fy text matches highlighted in slide thumbnails</a:t>
              </a: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59198F9-DA50-8B32-9C94-80E79E164335}"/>
                </a:ext>
              </a:extLst>
            </p:cNvPr>
            <p:cNvGrpSpPr/>
            <p:nvPr/>
          </p:nvGrpSpPr>
          <p:grpSpPr>
            <a:xfrm>
              <a:off x="5519755" y="2581324"/>
              <a:ext cx="680175" cy="680175"/>
              <a:chOff x="5519755" y="2581324"/>
              <a:chExt cx="680175" cy="680175"/>
            </a:xfrm>
          </p:grpSpPr>
          <p:sp>
            <p:nvSpPr>
              <p:cNvPr id="29" name="Free-form: Shape 28">
                <a:extLst>
                  <a:ext uri="{FF2B5EF4-FFF2-40B4-BE49-F238E27FC236}">
                    <a16:creationId xmlns:a16="http://schemas.microsoft.com/office/drawing/2014/main" id="{F039931F-ACA7-37C5-DAEC-B6EB1FD34BE7}"/>
                  </a:ext>
                </a:extLst>
              </p:cNvPr>
              <p:cNvSpPr/>
              <p:nvPr/>
            </p:nvSpPr>
            <p:spPr>
              <a:xfrm>
                <a:off x="5519755" y="2581324"/>
                <a:ext cx="680175" cy="680175"/>
              </a:xfrm>
              <a:custGeom>
                <a:avLst/>
                <a:gdLst>
                  <a:gd name="connsiteX0" fmla="*/ 279134 w 558267"/>
                  <a:gd name="connsiteY0" fmla="*/ 558267 h 558267"/>
                  <a:gd name="connsiteX1" fmla="*/ 558267 w 558267"/>
                  <a:gd name="connsiteY1" fmla="*/ 279134 h 558267"/>
                  <a:gd name="connsiteX2" fmla="*/ 279134 w 558267"/>
                  <a:gd name="connsiteY2" fmla="*/ 0 h 558267"/>
                  <a:gd name="connsiteX3" fmla="*/ 0 w 558267"/>
                  <a:gd name="connsiteY3" fmla="*/ 279134 h 558267"/>
                  <a:gd name="connsiteX4" fmla="*/ 279134 w 558267"/>
                  <a:gd name="connsiteY4" fmla="*/ 558267 h 558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8267" h="558267">
                    <a:moveTo>
                      <a:pt x="279134" y="558267"/>
                    </a:moveTo>
                    <a:cubicBezTo>
                      <a:pt x="433215" y="558267"/>
                      <a:pt x="558267" y="433215"/>
                      <a:pt x="558267" y="279134"/>
                    </a:cubicBezTo>
                    <a:cubicBezTo>
                      <a:pt x="558267" y="125052"/>
                      <a:pt x="433215" y="0"/>
                      <a:pt x="279134" y="0"/>
                    </a:cubicBezTo>
                    <a:cubicBezTo>
                      <a:pt x="125052" y="0"/>
                      <a:pt x="0" y="125052"/>
                      <a:pt x="0" y="279134"/>
                    </a:cubicBezTo>
                    <a:cubicBezTo>
                      <a:pt x="0" y="433215"/>
                      <a:pt x="125052" y="558267"/>
                      <a:pt x="279134" y="558267"/>
                    </a:cubicBezTo>
                    <a:close/>
                  </a:path>
                </a:pathLst>
              </a:custGeom>
              <a:solidFill>
                <a:schemeClr val="bg2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  <a:effectLst>
                <a:outerShdw blurRad="63500" sx="105000" sy="105000" algn="ctr" rotWithShape="0">
                  <a:schemeClr val="accent1">
                    <a:alpha val="2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-form: Shape 52">
                <a:extLst>
                  <a:ext uri="{FF2B5EF4-FFF2-40B4-BE49-F238E27FC236}">
                    <a16:creationId xmlns:a16="http://schemas.microsoft.com/office/drawing/2014/main" id="{71EFF354-B0BC-78B7-42CE-62EE6DC18486}"/>
                  </a:ext>
                </a:extLst>
              </p:cNvPr>
              <p:cNvSpPr/>
              <p:nvPr/>
            </p:nvSpPr>
            <p:spPr>
              <a:xfrm>
                <a:off x="5540150" y="2794229"/>
                <a:ext cx="639384" cy="254364"/>
              </a:xfrm>
              <a:custGeom>
                <a:avLst/>
                <a:gdLst>
                  <a:gd name="csX0" fmla="*/ 24064 w 639384"/>
                  <a:gd name="csY0" fmla="*/ 0 h 254364"/>
                  <a:gd name="csX1" fmla="*/ 615321 w 639384"/>
                  <a:gd name="csY1" fmla="*/ 0 h 254364"/>
                  <a:gd name="csX2" fmla="*/ 632889 w 639384"/>
                  <a:gd name="csY2" fmla="*/ 56597 h 254364"/>
                  <a:gd name="csX3" fmla="*/ 639384 w 639384"/>
                  <a:gd name="csY3" fmla="*/ 121026 h 254364"/>
                  <a:gd name="csX4" fmla="*/ 614261 w 639384"/>
                  <a:gd name="csY4" fmla="*/ 245465 h 254364"/>
                  <a:gd name="csX5" fmla="*/ 609431 w 639384"/>
                  <a:gd name="csY5" fmla="*/ 254364 h 254364"/>
                  <a:gd name="csX6" fmla="*/ 29953 w 639384"/>
                  <a:gd name="csY6" fmla="*/ 254364 h 254364"/>
                  <a:gd name="csX7" fmla="*/ 25123 w 639384"/>
                  <a:gd name="csY7" fmla="*/ 245465 h 254364"/>
                  <a:gd name="csX8" fmla="*/ 0 w 639384"/>
                  <a:gd name="csY8" fmla="*/ 121026 h 254364"/>
                  <a:gd name="csX9" fmla="*/ 6495 w 639384"/>
                  <a:gd name="csY9" fmla="*/ 56597 h 254364"/>
                  <a:gd name="csX10" fmla="*/ 24064 w 639384"/>
                  <a:gd name="csY10" fmla="*/ 0 h 25436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639384" h="254364">
                    <a:moveTo>
                      <a:pt x="24064" y="0"/>
                    </a:moveTo>
                    <a:lnTo>
                      <a:pt x="615321" y="0"/>
                    </a:lnTo>
                    <a:lnTo>
                      <a:pt x="632889" y="56597"/>
                    </a:lnTo>
                    <a:cubicBezTo>
                      <a:pt x="637148" y="77408"/>
                      <a:pt x="639384" y="98956"/>
                      <a:pt x="639384" y="121026"/>
                    </a:cubicBezTo>
                    <a:cubicBezTo>
                      <a:pt x="639384" y="165166"/>
                      <a:pt x="630439" y="207217"/>
                      <a:pt x="614261" y="245465"/>
                    </a:cubicBezTo>
                    <a:lnTo>
                      <a:pt x="609431" y="254364"/>
                    </a:lnTo>
                    <a:lnTo>
                      <a:pt x="29953" y="254364"/>
                    </a:lnTo>
                    <a:lnTo>
                      <a:pt x="25123" y="245465"/>
                    </a:lnTo>
                    <a:cubicBezTo>
                      <a:pt x="8946" y="207217"/>
                      <a:pt x="0" y="165166"/>
                      <a:pt x="0" y="121026"/>
                    </a:cubicBezTo>
                    <a:cubicBezTo>
                      <a:pt x="0" y="98956"/>
                      <a:pt x="2237" y="77408"/>
                      <a:pt x="6495" y="56597"/>
                    </a:cubicBezTo>
                    <a:lnTo>
                      <a:pt x="24064" y="0"/>
                    </a:lnTo>
                    <a:close/>
                  </a:path>
                </a:pathLst>
              </a:custGeom>
              <a:solidFill>
                <a:srgbClr val="FFFF00"/>
              </a:solidFill>
              <a:ln w="952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Cascadia Code" panose="020B0609020000020004" pitchFamily="49" charset="0"/>
                    <a:ea typeface="Cascadia Code" panose="020B0609020000020004" pitchFamily="49" charset="0"/>
                    <a:cs typeface="Cascadia Code" panose="020B0609020000020004" pitchFamily="49" charset="0"/>
                  </a:rPr>
                  <a:t>match</a:t>
                </a:r>
              </a:p>
            </p:txBody>
          </p:sp>
        </p:grp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B66AEB5-1C74-A07A-8734-C798EB9C53B5}"/>
              </a:ext>
            </a:extLst>
          </p:cNvPr>
          <p:cNvGrpSpPr/>
          <p:nvPr/>
        </p:nvGrpSpPr>
        <p:grpSpPr>
          <a:xfrm>
            <a:off x="5519755" y="5410958"/>
            <a:ext cx="6303644" cy="680175"/>
            <a:chOff x="5519755" y="5410958"/>
            <a:chExt cx="6303644" cy="680175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8B13F30-BDB1-75BA-434D-5996783F1A3F}"/>
                </a:ext>
              </a:extLst>
            </p:cNvPr>
            <p:cNvSpPr txBox="1"/>
            <p:nvPr/>
          </p:nvSpPr>
          <p:spPr>
            <a:xfrm>
              <a:off x="6346571" y="5504824"/>
              <a:ext cx="547682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de duplicate slide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D9E9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de visually similar slides in your search results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D9E9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BA4CD7E6-453A-7FF9-E55C-6331698B788B}"/>
                </a:ext>
              </a:extLst>
            </p:cNvPr>
            <p:cNvGrpSpPr/>
            <p:nvPr/>
          </p:nvGrpSpPr>
          <p:grpSpPr>
            <a:xfrm>
              <a:off x="5519755" y="5410958"/>
              <a:ext cx="680175" cy="680175"/>
              <a:chOff x="5519755" y="5410958"/>
              <a:chExt cx="680175" cy="680175"/>
            </a:xfrm>
          </p:grpSpPr>
          <p:sp>
            <p:nvSpPr>
              <p:cNvPr id="32" name="Free-form: Shape 31">
                <a:extLst>
                  <a:ext uri="{FF2B5EF4-FFF2-40B4-BE49-F238E27FC236}">
                    <a16:creationId xmlns:a16="http://schemas.microsoft.com/office/drawing/2014/main" id="{609136A3-3EE2-F0C3-6A92-428A57D420A2}"/>
                  </a:ext>
                </a:extLst>
              </p:cNvPr>
              <p:cNvSpPr/>
              <p:nvPr/>
            </p:nvSpPr>
            <p:spPr>
              <a:xfrm>
                <a:off x="5519755" y="5410958"/>
                <a:ext cx="680175" cy="680175"/>
              </a:xfrm>
              <a:custGeom>
                <a:avLst/>
                <a:gdLst>
                  <a:gd name="connsiteX0" fmla="*/ 279134 w 558267"/>
                  <a:gd name="connsiteY0" fmla="*/ 558267 h 558267"/>
                  <a:gd name="connsiteX1" fmla="*/ 558267 w 558267"/>
                  <a:gd name="connsiteY1" fmla="*/ 279134 h 558267"/>
                  <a:gd name="connsiteX2" fmla="*/ 279134 w 558267"/>
                  <a:gd name="connsiteY2" fmla="*/ 0 h 558267"/>
                  <a:gd name="connsiteX3" fmla="*/ 0 w 558267"/>
                  <a:gd name="connsiteY3" fmla="*/ 279134 h 558267"/>
                  <a:gd name="connsiteX4" fmla="*/ 279134 w 558267"/>
                  <a:gd name="connsiteY4" fmla="*/ 558267 h 558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8267" h="558267">
                    <a:moveTo>
                      <a:pt x="279134" y="558267"/>
                    </a:moveTo>
                    <a:cubicBezTo>
                      <a:pt x="433215" y="558267"/>
                      <a:pt x="558267" y="433215"/>
                      <a:pt x="558267" y="279134"/>
                    </a:cubicBezTo>
                    <a:cubicBezTo>
                      <a:pt x="558267" y="125052"/>
                      <a:pt x="433215" y="0"/>
                      <a:pt x="279134" y="0"/>
                    </a:cubicBezTo>
                    <a:cubicBezTo>
                      <a:pt x="125052" y="0"/>
                      <a:pt x="0" y="125052"/>
                      <a:pt x="0" y="279134"/>
                    </a:cubicBezTo>
                    <a:cubicBezTo>
                      <a:pt x="0" y="433215"/>
                      <a:pt x="125052" y="558267"/>
                      <a:pt x="279134" y="558267"/>
                    </a:cubicBezTo>
                    <a:close/>
                  </a:path>
                </a:pathLst>
              </a:custGeom>
              <a:solidFill>
                <a:schemeClr val="bg2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  <a:effectLst>
                <a:outerShdw blurRad="63500" sx="105000" sy="105000" algn="ctr" rotWithShape="0">
                  <a:schemeClr val="accent1">
                    <a:alpha val="2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65BA1575-41D8-23F9-0B8E-6C1B1AA8456D}"/>
                  </a:ext>
                </a:extLst>
              </p:cNvPr>
              <p:cNvGrpSpPr/>
              <p:nvPr/>
            </p:nvGrpSpPr>
            <p:grpSpPr>
              <a:xfrm>
                <a:off x="5639353" y="5562638"/>
                <a:ext cx="440979" cy="376815"/>
                <a:chOff x="593076" y="2797936"/>
                <a:chExt cx="196247" cy="167692"/>
              </a:xfrm>
            </p:grpSpPr>
            <p:sp>
              <p:nvSpPr>
                <p:cNvPr id="54" name="Rectangle: Rounded Corners 53">
                  <a:extLst>
                    <a:ext uri="{FF2B5EF4-FFF2-40B4-BE49-F238E27FC236}">
                      <a16:creationId xmlns:a16="http://schemas.microsoft.com/office/drawing/2014/main" id="{6A5940DD-8288-EB20-294F-E4F888872B45}"/>
                    </a:ext>
                  </a:extLst>
                </p:cNvPr>
                <p:cNvSpPr/>
                <p:nvPr/>
              </p:nvSpPr>
              <p:spPr>
                <a:xfrm>
                  <a:off x="643219" y="2863876"/>
                  <a:ext cx="146104" cy="101752"/>
                </a:xfrm>
                <a:prstGeom prst="roundRect">
                  <a:avLst>
                    <a:gd name="adj" fmla="val 9453"/>
                  </a:avLst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 w="9525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Rectangle: Rounded Corners 54">
                  <a:extLst>
                    <a:ext uri="{FF2B5EF4-FFF2-40B4-BE49-F238E27FC236}">
                      <a16:creationId xmlns:a16="http://schemas.microsoft.com/office/drawing/2014/main" id="{0D8D8970-2AEF-B744-D0F9-817DA2386280}"/>
                    </a:ext>
                  </a:extLst>
                </p:cNvPr>
                <p:cNvSpPr/>
                <p:nvPr/>
              </p:nvSpPr>
              <p:spPr>
                <a:xfrm>
                  <a:off x="625141" y="2835776"/>
                  <a:ext cx="146104" cy="101752"/>
                </a:xfrm>
                <a:prstGeom prst="roundRect">
                  <a:avLst>
                    <a:gd name="adj" fmla="val 9453"/>
                  </a:avLst>
                </a:prstGeom>
                <a:solidFill>
                  <a:schemeClr val="accent5"/>
                </a:solidFill>
                <a:ln w="9525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Rectangle: Rounded Corners 55">
                  <a:extLst>
                    <a:ext uri="{FF2B5EF4-FFF2-40B4-BE49-F238E27FC236}">
                      <a16:creationId xmlns:a16="http://schemas.microsoft.com/office/drawing/2014/main" id="{FCE0ED31-4495-F45A-5543-4DFD1D61D4A7}"/>
                    </a:ext>
                  </a:extLst>
                </p:cNvPr>
                <p:cNvSpPr/>
                <p:nvPr/>
              </p:nvSpPr>
              <p:spPr>
                <a:xfrm>
                  <a:off x="593076" y="2797936"/>
                  <a:ext cx="160090" cy="111492"/>
                </a:xfrm>
                <a:prstGeom prst="roundRect">
                  <a:avLst>
                    <a:gd name="adj" fmla="val 9453"/>
                  </a:avLst>
                </a:prstGeom>
                <a:solidFill>
                  <a:schemeClr val="accent1"/>
                </a:solidFill>
                <a:ln w="9525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B3A19929-FD25-CA13-2C62-1E0A4CE48E0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15404" y="2819419"/>
                  <a:ext cx="80105" cy="0"/>
                </a:xfrm>
                <a:prstGeom prst="line">
                  <a:avLst/>
                </a:prstGeom>
                <a:ln w="28575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22219F3C-AF44-7B1B-E5D5-54F5DF839BA3}"/>
              </a:ext>
            </a:extLst>
          </p:cNvPr>
          <p:cNvGrpSpPr/>
          <p:nvPr/>
        </p:nvGrpSpPr>
        <p:grpSpPr>
          <a:xfrm>
            <a:off x="5519755" y="3965365"/>
            <a:ext cx="6303644" cy="680175"/>
            <a:chOff x="5519755" y="3965365"/>
            <a:chExt cx="6303644" cy="680175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AEF9145-DDE2-7675-7EED-E251C619976A}"/>
                </a:ext>
              </a:extLst>
            </p:cNvPr>
            <p:cNvSpPr txBox="1"/>
            <p:nvPr/>
          </p:nvSpPr>
          <p:spPr>
            <a:xfrm>
              <a:off x="6346571" y="4051920"/>
              <a:ext cx="547682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lter and sort search results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D9E9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ecify date range, layout, etc. and sort for better results  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D9E9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E14BFC1-93E3-46D2-4E5B-9323AC78F89B}"/>
                </a:ext>
              </a:extLst>
            </p:cNvPr>
            <p:cNvGrpSpPr/>
            <p:nvPr/>
          </p:nvGrpSpPr>
          <p:grpSpPr>
            <a:xfrm>
              <a:off x="5519755" y="3965365"/>
              <a:ext cx="680175" cy="680175"/>
              <a:chOff x="5519755" y="3965365"/>
              <a:chExt cx="680175" cy="680175"/>
            </a:xfrm>
          </p:grpSpPr>
          <p:sp>
            <p:nvSpPr>
              <p:cNvPr id="25" name="Free-form: Shape 24">
                <a:extLst>
                  <a:ext uri="{FF2B5EF4-FFF2-40B4-BE49-F238E27FC236}">
                    <a16:creationId xmlns:a16="http://schemas.microsoft.com/office/drawing/2014/main" id="{FDD03F0C-A5C6-D9D0-E6A2-2C13E366FE5C}"/>
                  </a:ext>
                </a:extLst>
              </p:cNvPr>
              <p:cNvSpPr/>
              <p:nvPr/>
            </p:nvSpPr>
            <p:spPr>
              <a:xfrm>
                <a:off x="5519755" y="3965365"/>
                <a:ext cx="680175" cy="680175"/>
              </a:xfrm>
              <a:custGeom>
                <a:avLst/>
                <a:gdLst>
                  <a:gd name="connsiteX0" fmla="*/ 279134 w 558267"/>
                  <a:gd name="connsiteY0" fmla="*/ 558267 h 558267"/>
                  <a:gd name="connsiteX1" fmla="*/ 558267 w 558267"/>
                  <a:gd name="connsiteY1" fmla="*/ 279134 h 558267"/>
                  <a:gd name="connsiteX2" fmla="*/ 279134 w 558267"/>
                  <a:gd name="connsiteY2" fmla="*/ 0 h 558267"/>
                  <a:gd name="connsiteX3" fmla="*/ 0 w 558267"/>
                  <a:gd name="connsiteY3" fmla="*/ 279134 h 558267"/>
                  <a:gd name="connsiteX4" fmla="*/ 279134 w 558267"/>
                  <a:gd name="connsiteY4" fmla="*/ 558267 h 558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8267" h="558267">
                    <a:moveTo>
                      <a:pt x="279134" y="558267"/>
                    </a:moveTo>
                    <a:cubicBezTo>
                      <a:pt x="433215" y="558267"/>
                      <a:pt x="558267" y="433215"/>
                      <a:pt x="558267" y="279134"/>
                    </a:cubicBezTo>
                    <a:cubicBezTo>
                      <a:pt x="558267" y="125052"/>
                      <a:pt x="433215" y="0"/>
                      <a:pt x="279134" y="0"/>
                    </a:cubicBezTo>
                    <a:cubicBezTo>
                      <a:pt x="125052" y="0"/>
                      <a:pt x="0" y="125052"/>
                      <a:pt x="0" y="279134"/>
                    </a:cubicBezTo>
                    <a:cubicBezTo>
                      <a:pt x="0" y="433215"/>
                      <a:pt x="125052" y="558267"/>
                      <a:pt x="279134" y="558267"/>
                    </a:cubicBezTo>
                    <a:close/>
                  </a:path>
                </a:pathLst>
              </a:custGeom>
              <a:solidFill>
                <a:schemeClr val="bg2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  <a:effectLst>
                <a:outerShdw blurRad="63500" sx="105000" sy="105000" algn="ctr" rotWithShape="0">
                  <a:schemeClr val="accent1">
                    <a:alpha val="2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Graphic 41">
                <a:extLst>
                  <a:ext uri="{FF2B5EF4-FFF2-40B4-BE49-F238E27FC236}">
                    <a16:creationId xmlns:a16="http://schemas.microsoft.com/office/drawing/2014/main" id="{65715828-02D5-C6A1-1979-24D3509A6FE2}"/>
                  </a:ext>
                </a:extLst>
              </p:cNvPr>
              <p:cNvSpPr/>
              <p:nvPr/>
            </p:nvSpPr>
            <p:spPr>
              <a:xfrm>
                <a:off x="5695230" y="4170793"/>
                <a:ext cx="339381" cy="339381"/>
              </a:xfrm>
              <a:custGeom>
                <a:avLst/>
                <a:gdLst>
                  <a:gd name="csX0" fmla="*/ 339382 w 339381"/>
                  <a:gd name="csY0" fmla="*/ 0 h 339381"/>
                  <a:gd name="csX1" fmla="*/ 0 w 339381"/>
                  <a:gd name="csY1" fmla="*/ 0 h 339381"/>
                  <a:gd name="csX2" fmla="*/ 149727 w 339381"/>
                  <a:gd name="csY2" fmla="*/ 149727 h 339381"/>
                  <a:gd name="csX3" fmla="*/ 149727 w 339381"/>
                  <a:gd name="csY3" fmla="*/ 299454 h 339381"/>
                  <a:gd name="csX4" fmla="*/ 149727 w 339381"/>
                  <a:gd name="csY4" fmla="*/ 339382 h 339381"/>
                  <a:gd name="csX5" fmla="*/ 189654 w 339381"/>
                  <a:gd name="csY5" fmla="*/ 299454 h 339381"/>
                  <a:gd name="csX6" fmla="*/ 189654 w 339381"/>
                  <a:gd name="csY6" fmla="*/ 149727 h 33938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339381" h="339381">
                    <a:moveTo>
                      <a:pt x="339382" y="0"/>
                    </a:moveTo>
                    <a:lnTo>
                      <a:pt x="0" y="0"/>
                    </a:lnTo>
                    <a:lnTo>
                      <a:pt x="149727" y="149727"/>
                    </a:lnTo>
                    <a:lnTo>
                      <a:pt x="149727" y="299454"/>
                    </a:lnTo>
                    <a:lnTo>
                      <a:pt x="149727" y="339382"/>
                    </a:lnTo>
                    <a:lnTo>
                      <a:pt x="189654" y="299454"/>
                    </a:lnTo>
                    <a:lnTo>
                      <a:pt x="189654" y="149727"/>
                    </a:lnTo>
                    <a:close/>
                  </a:path>
                </a:pathLst>
              </a:custGeom>
              <a:solidFill>
                <a:schemeClr val="accent4"/>
              </a:solidFill>
              <a:ln w="19050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68" name="Picture 67">
            <a:extLst>
              <a:ext uri="{FF2B5EF4-FFF2-40B4-BE49-F238E27FC236}">
                <a16:creationId xmlns:a16="http://schemas.microsoft.com/office/drawing/2014/main" id="{3F7A3B7F-3050-F5DF-B3AC-9E9629D28E89}"/>
              </a:ext>
            </a:extLst>
          </p:cNvPr>
          <p:cNvPicPr>
            <a:picLocks/>
          </p:cNvPicPr>
          <p:nvPr/>
        </p:nvPicPr>
        <p:blipFill>
          <a:blip r:embed="rId6"/>
          <a:srcRect l="37" t="-42" r="38635" b="42"/>
          <a:stretch>
            <a:fillRect/>
          </a:stretch>
        </p:blipFill>
        <p:spPr>
          <a:xfrm>
            <a:off x="408316" y="2168895"/>
            <a:ext cx="4788696" cy="4231523"/>
          </a:xfrm>
          <a:prstGeom prst="roundRect">
            <a:avLst>
              <a:gd name="adj" fmla="val 2326"/>
            </a:avLst>
          </a:prstGeom>
          <a:ln w="76200">
            <a:solidFill>
              <a:schemeClr val="bg2">
                <a:alpha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7879799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THINKCELLUNDODONOTDELETE" val="0"/>
  <p:tag name="THINKCELLPRESENTATIONDONOTDELETE" val="&lt;?xml version=&quot;1.0&quot; encoding=&quot;UTF-16&quot; standalone=&quot;yes&quot;?&gt;&lt;root reqver=&quot;28224&quot;&gt;&lt;version val=&quot;357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heme/theme1.xml><?xml version="1.0" encoding="utf-8"?>
<a:theme xmlns:a="http://schemas.openxmlformats.org/drawingml/2006/main" name="think-cell Template">
  <a:themeElements>
    <a:clrScheme name="think-cell Color Theme">
      <a:dk1>
        <a:srgbClr val="080808"/>
      </a:dk1>
      <a:lt1>
        <a:srgbClr val="FFFFFF"/>
      </a:lt1>
      <a:dk2>
        <a:srgbClr val="525252"/>
      </a:dk2>
      <a:lt2>
        <a:srgbClr val="EFEFF1"/>
      </a:lt2>
      <a:accent1>
        <a:srgbClr val="2972FF"/>
      </a:accent1>
      <a:accent2>
        <a:srgbClr val="1BBC9B"/>
      </a:accent2>
      <a:accent3>
        <a:srgbClr val="E4941B"/>
      </a:accent3>
      <a:accent4>
        <a:srgbClr val="D9E9FF"/>
      </a:accent4>
      <a:accent5>
        <a:srgbClr val="8EC1FF"/>
      </a:accent5>
      <a:accent6>
        <a:srgbClr val="A1A1A1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72000" tIns="72000" rIns="72000" bIns="72000" rtlCol="0" anchor="ctr"/>
      <a:lstStyle>
        <a:defPPr algn="l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92C067B-8F46-4778-8109-9D654FC6BAFE}" vid="{6CB0D4FF-A0B4-4480-BE4C-F27062917C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6CAD090FCB6C41B211BDAFA3947C73" ma:contentTypeVersion="16" ma:contentTypeDescription="Create a new document." ma:contentTypeScope="" ma:versionID="543f1a0c1d118dc4a3b5273c6bc14d7d">
  <xsd:schema xmlns:xsd="http://www.w3.org/2001/XMLSchema" xmlns:xs="http://www.w3.org/2001/XMLSchema" xmlns:p="http://schemas.microsoft.com/office/2006/metadata/properties" xmlns:ns2="40b3a238-e851-4bda-be3d-1ed623dfc157" xmlns:ns3="4bd4d397-a849-4111-8caa-2cd1909bb285" targetNamespace="http://schemas.microsoft.com/office/2006/metadata/properties" ma:root="true" ma:fieldsID="957df396fd35edc1489111a5917a996e" ns2:_="" ns3:_="">
    <xsd:import namespace="40b3a238-e851-4bda-be3d-1ed623dfc157"/>
    <xsd:import namespace="4bd4d397-a849-4111-8caa-2cd1909bb2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b3a238-e851-4bda-be3d-1ed623dfc1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4d397-a849-4111-8caa-2cd1909bb28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1f2e69d-9d44-4842-ab62-01f6b5913424}" ma:internalName="TaxCatchAll" ma:showField="CatchAllData" ma:web="4bd4d397-a849-4111-8caa-2cd1909bb2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0b3a238-e851-4bda-be3d-1ed623dfc157">
      <Terms xmlns="http://schemas.microsoft.com/office/infopath/2007/PartnerControls"/>
    </lcf76f155ced4ddcb4097134ff3c332f>
    <TaxCatchAll xmlns="4bd4d397-a849-4111-8caa-2cd1909bb285" xsi:nil="true"/>
  </documentManagement>
</p:properties>
</file>

<file path=customXml/itemProps1.xml><?xml version="1.0" encoding="utf-8"?>
<ds:datastoreItem xmlns:ds="http://schemas.openxmlformats.org/officeDocument/2006/customXml" ds:itemID="{0AEEA389-8D8E-4A19-B90F-05169E51A158}"/>
</file>

<file path=customXml/itemProps2.xml><?xml version="1.0" encoding="utf-8"?>
<ds:datastoreItem xmlns:ds="http://schemas.openxmlformats.org/officeDocument/2006/customXml" ds:itemID="{904CFE3E-F790-42A2-9DC5-494E40920C5E}"/>
</file>

<file path=customXml/itemProps3.xml><?xml version="1.0" encoding="utf-8"?>
<ds:datastoreItem xmlns:ds="http://schemas.openxmlformats.org/officeDocument/2006/customXml" ds:itemID="{B723663A-4166-47C7-9202-FFA0364BC9EA}"/>
</file>

<file path=docProps/app.xml><?xml version="1.0" encoding="utf-8"?>
<Properties xmlns="http://schemas.openxmlformats.org/officeDocument/2006/extended-properties" xmlns:vt="http://schemas.openxmlformats.org/officeDocument/2006/docPropsVTypes">
  <Template>think-cell template Light 2025</Template>
  <TotalTime>0</TotalTime>
  <Words>193</Words>
  <Application>Microsoft Office PowerPoint</Application>
  <PresentationFormat>Widescreen</PresentationFormat>
  <Paragraphs>30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Cascadia Code</vt:lpstr>
      <vt:lpstr>Symbol</vt:lpstr>
      <vt:lpstr>think-cell Template</vt:lpstr>
      <vt:lpstr>think-cell Slide</vt:lpstr>
      <vt:lpstr>PowerPoint Presentation</vt:lpstr>
      <vt:lpstr>Adding content to think-cell Library</vt:lpstr>
      <vt:lpstr>Inserting slides, templates, or elements</vt:lpstr>
      <vt:lpstr>Searching for conten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12-16T12:34:02Z</dcterms:created>
  <dcterms:modified xsi:type="dcterms:W3CDTF">2025-12-16T12:3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BF6CAD090FCB6C41B211BDAFA3947C73</vt:lpwstr>
  </property>
</Properties>
</file>